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950" r:id="rId5"/>
    <p:sldId id="3055" r:id="rId6"/>
    <p:sldId id="3056" r:id="rId7"/>
    <p:sldId id="3057" r:id="rId8"/>
    <p:sldId id="1302" r:id="rId9"/>
    <p:sldId id="3058" r:id="rId10"/>
    <p:sldId id="3062" r:id="rId11"/>
    <p:sldId id="3063" r:id="rId12"/>
    <p:sldId id="3064" r:id="rId13"/>
    <p:sldId id="3068" r:id="rId14"/>
    <p:sldId id="3065" r:id="rId15"/>
    <p:sldId id="360" r:id="rId16"/>
  </p:sldIdLst>
  <p:sldSz cx="12192000" cy="6858000"/>
  <p:notesSz cx="6881813" cy="9710738"/>
  <p:custDataLst>
    <p:tags r:id="rId19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59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elcio Umphir" initials="EU" lastIdx="2" clrIdx="0">
    <p:extLst>
      <p:ext uri="{19B8F6BF-5375-455C-9EA6-DF929625EA0E}">
        <p15:presenceInfo xmlns:p15="http://schemas.microsoft.com/office/powerpoint/2012/main" userId="a4aa10fef290fbdf" providerId="Windows Live"/>
      </p:ext>
    </p:extLst>
  </p:cmAuthor>
  <p:cmAuthor id="2" name="Edelcio Umphir" initials="EU [2]" lastIdx="1" clrIdx="1">
    <p:extLst>
      <p:ext uri="{19B8F6BF-5375-455C-9EA6-DF929625EA0E}">
        <p15:presenceInfo xmlns:p15="http://schemas.microsoft.com/office/powerpoint/2012/main" userId="Edelcio Umphi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ED8B2F"/>
    <a:srgbClr val="3A3A3A"/>
    <a:srgbClr val="00A471"/>
    <a:srgbClr val="AC53AE"/>
    <a:srgbClr val="3382B2"/>
    <a:srgbClr val="D9D9D9"/>
    <a:srgbClr val="000000"/>
    <a:srgbClr val="FFCFE8"/>
    <a:srgbClr val="FF9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C8E33C-321C-418E-8B3B-128591160133}" v="361" dt="2024-04-15T21:04:20.899"/>
    <p1510:client id="{5F9CB1FC-85F0-6917-9071-9626A6E0E0E8}" v="9" dt="2024-04-15T19:41:12.1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5" autoAdjust="0"/>
    <p:restoredTop sz="96247" autoAdjust="0"/>
  </p:normalViewPr>
  <p:slideViewPr>
    <p:cSldViewPr snapToGrid="0">
      <p:cViewPr varScale="1">
        <p:scale>
          <a:sx n="60" d="100"/>
          <a:sy n="60" d="100"/>
        </p:scale>
        <p:origin x="10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59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los Deghi" userId="a6d5b842-f429-4d48-b81f-4727776bba98" providerId="ADAL" clId="{66C837D4-09E8-4709-BB50-6BA0E9FF5C79}"/>
    <pc:docChg chg="undo custSel addSld delSld modSld sldOrd modMainMaster">
      <pc:chgData name="Carlos Deghi" userId="a6d5b842-f429-4d48-b81f-4727776bba98" providerId="ADAL" clId="{66C837D4-09E8-4709-BB50-6BA0E9FF5C79}" dt="2023-12-06T10:52:14.632" v="3513" actId="478"/>
      <pc:docMkLst>
        <pc:docMk/>
      </pc:docMkLst>
      <pc:sldChg chg="delSp mod">
        <pc:chgData name="Carlos Deghi" userId="a6d5b842-f429-4d48-b81f-4727776bba98" providerId="ADAL" clId="{66C837D4-09E8-4709-BB50-6BA0E9FF5C79}" dt="2023-12-04T08:41:50.635" v="718" actId="478"/>
        <pc:sldMkLst>
          <pc:docMk/>
          <pc:sldMk cId="1632295276" sldId="360"/>
        </pc:sldMkLst>
        <pc:grpChg chg="del">
          <ac:chgData name="Carlos Deghi" userId="a6d5b842-f429-4d48-b81f-4727776bba98" providerId="ADAL" clId="{66C837D4-09E8-4709-BB50-6BA0E9FF5C79}" dt="2023-12-04T08:41:50.635" v="718" actId="478"/>
          <ac:grpSpMkLst>
            <pc:docMk/>
            <pc:sldMk cId="1632295276" sldId="360"/>
            <ac:grpSpMk id="12" creationId="{68443A90-FAA6-4C7A-BFDC-F3C218F63FCC}"/>
          </ac:grpSpMkLst>
        </pc:grpChg>
      </pc:sldChg>
      <pc:sldChg chg="addSp delSp modSp mod chgLayout">
        <pc:chgData name="Carlos Deghi" userId="a6d5b842-f429-4d48-b81f-4727776bba98" providerId="ADAL" clId="{66C837D4-09E8-4709-BB50-6BA0E9FF5C79}" dt="2023-12-06T10:39:58.693" v="3475" actId="20577"/>
        <pc:sldMkLst>
          <pc:docMk/>
          <pc:sldMk cId="2845109669" sldId="361"/>
        </pc:sldMkLst>
        <pc:spChg chg="del">
          <ac:chgData name="Carlos Deghi" userId="a6d5b842-f429-4d48-b81f-4727776bba98" providerId="ADAL" clId="{66C837D4-09E8-4709-BB50-6BA0E9FF5C79}" dt="2023-12-04T10:18:13.638" v="1078" actId="478"/>
          <ac:spMkLst>
            <pc:docMk/>
            <pc:sldMk cId="2845109669" sldId="361"/>
            <ac:spMk id="2" creationId="{D7D5B37F-16D5-6FF8-695E-4B4105FF89CB}"/>
          </ac:spMkLst>
        </pc:spChg>
        <pc:spChg chg="add del mod ord">
          <ac:chgData name="Carlos Deghi" userId="a6d5b842-f429-4d48-b81f-4727776bba98" providerId="ADAL" clId="{66C837D4-09E8-4709-BB50-6BA0E9FF5C79}" dt="2023-12-04T08:04:48.518" v="422" actId="478"/>
          <ac:spMkLst>
            <pc:docMk/>
            <pc:sldMk cId="2845109669" sldId="361"/>
            <ac:spMk id="9" creationId="{1E15FB34-9A69-EA22-2C0B-0705EF03054F}"/>
          </ac:spMkLst>
        </pc:spChg>
        <pc:spChg chg="add mod">
          <ac:chgData name="Carlos Deghi" userId="a6d5b842-f429-4d48-b81f-4727776bba98" providerId="ADAL" clId="{66C837D4-09E8-4709-BB50-6BA0E9FF5C79}" dt="2023-12-04T10:18:14.194" v="1079"/>
          <ac:spMkLst>
            <pc:docMk/>
            <pc:sldMk cId="2845109669" sldId="361"/>
            <ac:spMk id="12" creationId="{0A6D6463-2122-0FAE-905E-56DD14FE5281}"/>
          </ac:spMkLst>
        </pc:spChg>
        <pc:spChg chg="mod">
          <ac:chgData name="Carlos Deghi" userId="a6d5b842-f429-4d48-b81f-4727776bba98" providerId="ADAL" clId="{66C837D4-09E8-4709-BB50-6BA0E9FF5C79}" dt="2023-12-04T10:18:14.194" v="1079"/>
          <ac:spMkLst>
            <pc:docMk/>
            <pc:sldMk cId="2845109669" sldId="361"/>
            <ac:spMk id="14" creationId="{F713E311-8F4D-1880-CD1C-B9C2A93EB3AB}"/>
          </ac:spMkLst>
        </pc:spChg>
        <pc:spChg chg="mod">
          <ac:chgData name="Carlos Deghi" userId="a6d5b842-f429-4d48-b81f-4727776bba98" providerId="ADAL" clId="{66C837D4-09E8-4709-BB50-6BA0E9FF5C79}" dt="2023-12-04T10:18:14.194" v="1079"/>
          <ac:spMkLst>
            <pc:docMk/>
            <pc:sldMk cId="2845109669" sldId="361"/>
            <ac:spMk id="15" creationId="{BD99678F-EE02-E842-C409-6F09D752D0F2}"/>
          </ac:spMkLst>
        </pc:spChg>
        <pc:spChg chg="mod">
          <ac:chgData name="Carlos Deghi" userId="a6d5b842-f429-4d48-b81f-4727776bba98" providerId="ADAL" clId="{66C837D4-09E8-4709-BB50-6BA0E9FF5C79}" dt="2023-12-04T10:18:14.194" v="1079"/>
          <ac:spMkLst>
            <pc:docMk/>
            <pc:sldMk cId="2845109669" sldId="361"/>
            <ac:spMk id="16" creationId="{11929EF4-C58C-1B00-0E89-CBF6C39C2AA0}"/>
          </ac:spMkLst>
        </pc:spChg>
        <pc:spChg chg="del">
          <ac:chgData name="Carlos Deghi" userId="a6d5b842-f429-4d48-b81f-4727776bba98" providerId="ADAL" clId="{66C837D4-09E8-4709-BB50-6BA0E9FF5C79}" dt="2023-12-04T10:17:56.904" v="1076" actId="478"/>
          <ac:spMkLst>
            <pc:docMk/>
            <pc:sldMk cId="2845109669" sldId="361"/>
            <ac:spMk id="63" creationId="{8537A76C-FDC9-5D2E-8B18-A3624778EEDC}"/>
          </ac:spMkLst>
        </pc:spChg>
        <pc:spChg chg="del">
          <ac:chgData name="Carlos Deghi" userId="a6d5b842-f429-4d48-b81f-4727776bba98" providerId="ADAL" clId="{66C837D4-09E8-4709-BB50-6BA0E9FF5C79}" dt="2023-12-04T10:17:56.904" v="1076" actId="478"/>
          <ac:spMkLst>
            <pc:docMk/>
            <pc:sldMk cId="2845109669" sldId="361"/>
            <ac:spMk id="74" creationId="{8C277DF5-EDAE-2BBB-81BC-6EB41996F333}"/>
          </ac:spMkLst>
        </pc:spChg>
        <pc:spChg chg="del">
          <ac:chgData name="Carlos Deghi" userId="a6d5b842-f429-4d48-b81f-4727776bba98" providerId="ADAL" clId="{66C837D4-09E8-4709-BB50-6BA0E9FF5C79}" dt="2023-12-04T10:17:56.904" v="1076" actId="478"/>
          <ac:spMkLst>
            <pc:docMk/>
            <pc:sldMk cId="2845109669" sldId="361"/>
            <ac:spMk id="75" creationId="{49A65FBF-DDA2-BF6D-4B99-130840812EB6}"/>
          </ac:spMkLst>
        </pc:spChg>
        <pc:spChg chg="mod ord">
          <ac:chgData name="Carlos Deghi" userId="a6d5b842-f429-4d48-b81f-4727776bba98" providerId="ADAL" clId="{66C837D4-09E8-4709-BB50-6BA0E9FF5C79}" dt="2023-12-04T10:36:38.480" v="1483" actId="20577"/>
          <ac:spMkLst>
            <pc:docMk/>
            <pc:sldMk cId="2845109669" sldId="361"/>
            <ac:spMk id="80" creationId="{23320BCB-A583-C35B-6F4F-191D42B10434}"/>
          </ac:spMkLst>
        </pc:spChg>
        <pc:grpChg chg="del">
          <ac:chgData name="Carlos Deghi" userId="a6d5b842-f429-4d48-b81f-4727776bba98" providerId="ADAL" clId="{66C837D4-09E8-4709-BB50-6BA0E9FF5C79}" dt="2023-12-04T10:17:59.171" v="1077" actId="478"/>
          <ac:grpSpMkLst>
            <pc:docMk/>
            <pc:sldMk cId="2845109669" sldId="361"/>
            <ac:grpSpMk id="4" creationId="{C7BD193A-3E18-B4F0-2A52-0FDB99D1DD48}"/>
          </ac:grpSpMkLst>
        </pc:grpChg>
        <pc:grpChg chg="add mod">
          <ac:chgData name="Carlos Deghi" userId="a6d5b842-f429-4d48-b81f-4727776bba98" providerId="ADAL" clId="{66C837D4-09E8-4709-BB50-6BA0E9FF5C79}" dt="2023-12-04T10:18:14.194" v="1079"/>
          <ac:grpSpMkLst>
            <pc:docMk/>
            <pc:sldMk cId="2845109669" sldId="361"/>
            <ac:grpSpMk id="13" creationId="{8C6DEE40-9393-54BA-12BA-61FD2ED07DC1}"/>
          </ac:grpSpMkLst>
        </pc:grpChg>
        <pc:graphicFrameChg chg="add mod">
          <ac:chgData name="Carlos Deghi" userId="a6d5b842-f429-4d48-b81f-4727776bba98" providerId="ADAL" clId="{66C837D4-09E8-4709-BB50-6BA0E9FF5C79}" dt="2023-12-04T10:21:20.857" v="1195"/>
          <ac:graphicFrameMkLst>
            <pc:docMk/>
            <pc:sldMk cId="2845109669" sldId="361"/>
            <ac:graphicFrameMk id="17" creationId="{AB164337-59FF-64AA-967D-40AC000C0C9B}"/>
          </ac:graphicFrameMkLst>
        </pc:graphicFrameChg>
        <pc:graphicFrameChg chg="modGraphic">
          <ac:chgData name="Carlos Deghi" userId="a6d5b842-f429-4d48-b81f-4727776bba98" providerId="ADAL" clId="{66C837D4-09E8-4709-BB50-6BA0E9FF5C79}" dt="2023-12-06T10:39:58.693" v="3475" actId="20577"/>
          <ac:graphicFrameMkLst>
            <pc:docMk/>
            <pc:sldMk cId="2845109669" sldId="361"/>
            <ac:graphicFrameMk id="79" creationId="{E657733D-1710-C132-E3B4-0C2A428E1581}"/>
          </ac:graphicFrameMkLst>
        </pc:graphicFrameChg>
        <pc:picChg chg="mod">
          <ac:chgData name="Carlos Deghi" userId="a6d5b842-f429-4d48-b81f-4727776bba98" providerId="ADAL" clId="{66C837D4-09E8-4709-BB50-6BA0E9FF5C79}" dt="2023-12-04T12:16:17.301" v="3257"/>
          <ac:picMkLst>
            <pc:docMk/>
            <pc:sldMk cId="2845109669" sldId="361"/>
            <ac:picMk id="11" creationId="{C3AEB3D7-CECE-9D09-E86C-DD1C2FDCBA41}"/>
          </ac:picMkLst>
        </pc:picChg>
      </pc:sldChg>
      <pc:sldChg chg="addSp delSp modSp mod chgLayout">
        <pc:chgData name="Carlos Deghi" userId="a6d5b842-f429-4d48-b81f-4727776bba98" providerId="ADAL" clId="{66C837D4-09E8-4709-BB50-6BA0E9FF5C79}" dt="2023-12-06T10:51:35.672" v="3509" actId="478"/>
        <pc:sldMkLst>
          <pc:docMk/>
          <pc:sldMk cId="1566175729" sldId="362"/>
        </pc:sldMkLst>
        <pc:spChg chg="add del mod ord">
          <ac:chgData name="Carlos Deghi" userId="a6d5b842-f429-4d48-b81f-4727776bba98" providerId="ADAL" clId="{66C837D4-09E8-4709-BB50-6BA0E9FF5C79}" dt="2023-12-06T10:51:35.672" v="3509" actId="478"/>
          <ac:spMkLst>
            <pc:docMk/>
            <pc:sldMk cId="1566175729" sldId="362"/>
            <ac:spMk id="2" creationId="{16D01FDD-685A-03BF-5DEF-F7CED2F2409E}"/>
          </ac:spMkLst>
        </pc:spChg>
        <pc:spChg chg="del">
          <ac:chgData name="Carlos Deghi" userId="a6d5b842-f429-4d48-b81f-4727776bba98" providerId="ADAL" clId="{66C837D4-09E8-4709-BB50-6BA0E9FF5C79}" dt="2023-12-04T10:18:27.673" v="1080" actId="478"/>
          <ac:spMkLst>
            <pc:docMk/>
            <pc:sldMk cId="1566175729" sldId="362"/>
            <ac:spMk id="2" creationId="{D7D5B37F-16D5-6FF8-695E-4B4105FF89CB}"/>
          </ac:spMkLst>
        </pc:spChg>
        <pc:spChg chg="mod ord">
          <ac:chgData name="Carlos Deghi" userId="a6d5b842-f429-4d48-b81f-4727776bba98" providerId="ADAL" clId="{66C837D4-09E8-4709-BB50-6BA0E9FF5C79}" dt="2023-12-06T10:51:27.939" v="3508" actId="700"/>
          <ac:spMkLst>
            <pc:docMk/>
            <pc:sldMk cId="1566175729" sldId="362"/>
            <ac:spMk id="4" creationId="{54301417-8138-91E9-07DA-FBBC097FB2A6}"/>
          </ac:spMkLst>
        </pc:spChg>
        <pc:spChg chg="mod">
          <ac:chgData name="Carlos Deghi" userId="a6d5b842-f429-4d48-b81f-4727776bba98" providerId="ADAL" clId="{66C837D4-09E8-4709-BB50-6BA0E9FF5C79}" dt="2023-12-04T10:16:01.057" v="951"/>
          <ac:spMkLst>
            <pc:docMk/>
            <pc:sldMk cId="1566175729" sldId="362"/>
            <ac:spMk id="9" creationId="{E56D5EC6-A772-1ABF-5DB6-BD77CA4532EF}"/>
          </ac:spMkLst>
        </pc:spChg>
        <pc:spChg chg="mod">
          <ac:chgData name="Carlos Deghi" userId="a6d5b842-f429-4d48-b81f-4727776bba98" providerId="ADAL" clId="{66C837D4-09E8-4709-BB50-6BA0E9FF5C79}" dt="2023-12-04T10:16:01.057" v="951"/>
          <ac:spMkLst>
            <pc:docMk/>
            <pc:sldMk cId="1566175729" sldId="362"/>
            <ac:spMk id="10" creationId="{DEEF14A2-0A5E-271F-D36D-A57EB88D5798}"/>
          </ac:spMkLst>
        </pc:spChg>
        <pc:spChg chg="mod">
          <ac:chgData name="Carlos Deghi" userId="a6d5b842-f429-4d48-b81f-4727776bba98" providerId="ADAL" clId="{66C837D4-09E8-4709-BB50-6BA0E9FF5C79}" dt="2023-12-04T10:16:01.057" v="951"/>
          <ac:spMkLst>
            <pc:docMk/>
            <pc:sldMk cId="1566175729" sldId="362"/>
            <ac:spMk id="11" creationId="{8403AA3E-0BA0-8F30-80F7-B1BCE84B771F}"/>
          </ac:spMkLst>
        </pc:spChg>
        <pc:spChg chg="mod">
          <ac:chgData name="Carlos Deghi" userId="a6d5b842-f429-4d48-b81f-4727776bba98" providerId="ADAL" clId="{66C837D4-09E8-4709-BB50-6BA0E9FF5C79}" dt="2023-12-04T10:16:19.206" v="954"/>
          <ac:spMkLst>
            <pc:docMk/>
            <pc:sldMk cId="1566175729" sldId="362"/>
            <ac:spMk id="13" creationId="{7C8E98B8-769D-B7E2-4FD4-6171D4AE54FF}"/>
          </ac:spMkLst>
        </pc:spChg>
        <pc:spChg chg="mod">
          <ac:chgData name="Carlos Deghi" userId="a6d5b842-f429-4d48-b81f-4727776bba98" providerId="ADAL" clId="{66C837D4-09E8-4709-BB50-6BA0E9FF5C79}" dt="2023-12-04T10:16:19.206" v="954"/>
          <ac:spMkLst>
            <pc:docMk/>
            <pc:sldMk cId="1566175729" sldId="362"/>
            <ac:spMk id="14" creationId="{1D69D319-61DC-3486-DE7B-D06F9D114C4B}"/>
          </ac:spMkLst>
        </pc:spChg>
        <pc:spChg chg="mod">
          <ac:chgData name="Carlos Deghi" userId="a6d5b842-f429-4d48-b81f-4727776bba98" providerId="ADAL" clId="{66C837D4-09E8-4709-BB50-6BA0E9FF5C79}" dt="2023-12-04T10:16:19.206" v="954"/>
          <ac:spMkLst>
            <pc:docMk/>
            <pc:sldMk cId="1566175729" sldId="362"/>
            <ac:spMk id="15" creationId="{11E0ED52-6CC9-805B-DED5-16D6456DB21E}"/>
          </ac:spMkLst>
        </pc:spChg>
        <pc:spChg chg="add mod ord">
          <ac:chgData name="Carlos Deghi" userId="a6d5b842-f429-4d48-b81f-4727776bba98" providerId="ADAL" clId="{66C837D4-09E8-4709-BB50-6BA0E9FF5C79}" dt="2023-12-04T10:18:31.919" v="1082" actId="167"/>
          <ac:spMkLst>
            <pc:docMk/>
            <pc:sldMk cId="1566175729" sldId="362"/>
            <ac:spMk id="16" creationId="{4EDC3000-AAC7-BA55-DC07-38440ED1D6C9}"/>
          </ac:spMkLst>
        </pc:spChg>
        <pc:spChg chg="del">
          <ac:chgData name="Carlos Deghi" userId="a6d5b842-f429-4d48-b81f-4727776bba98" providerId="ADAL" clId="{66C837D4-09E8-4709-BB50-6BA0E9FF5C79}" dt="2023-12-04T10:16:08.557" v="952" actId="478"/>
          <ac:spMkLst>
            <pc:docMk/>
            <pc:sldMk cId="1566175729" sldId="362"/>
            <ac:spMk id="41" creationId="{58FE2E10-58C5-622E-9F81-EE491C5CB20C}"/>
          </ac:spMkLst>
        </pc:spChg>
        <pc:spChg chg="del">
          <ac:chgData name="Carlos Deghi" userId="a6d5b842-f429-4d48-b81f-4727776bba98" providerId="ADAL" clId="{66C837D4-09E8-4709-BB50-6BA0E9FF5C79}" dt="2023-12-04T10:16:08.557" v="952" actId="478"/>
          <ac:spMkLst>
            <pc:docMk/>
            <pc:sldMk cId="1566175729" sldId="362"/>
            <ac:spMk id="42" creationId="{6C3E24D7-DA36-63A0-DA7F-E8574057DFF0}"/>
          </ac:spMkLst>
        </pc:spChg>
        <pc:spChg chg="del">
          <ac:chgData name="Carlos Deghi" userId="a6d5b842-f429-4d48-b81f-4727776bba98" providerId="ADAL" clId="{66C837D4-09E8-4709-BB50-6BA0E9FF5C79}" dt="2023-12-04T10:16:08.557" v="952" actId="478"/>
          <ac:spMkLst>
            <pc:docMk/>
            <pc:sldMk cId="1566175729" sldId="362"/>
            <ac:spMk id="43" creationId="{64FCDCF0-3196-1886-025A-C8818F06B5B1}"/>
          </ac:spMkLst>
        </pc:spChg>
        <pc:grpChg chg="add del mod">
          <ac:chgData name="Carlos Deghi" userId="a6d5b842-f429-4d48-b81f-4727776bba98" providerId="ADAL" clId="{66C837D4-09E8-4709-BB50-6BA0E9FF5C79}" dt="2023-12-04T10:16:40.092" v="1011" actId="478"/>
          <ac:grpSpMkLst>
            <pc:docMk/>
            <pc:sldMk cId="1566175729" sldId="362"/>
            <ac:grpSpMk id="8" creationId="{3D17AD58-576D-A090-D8C0-4390EB16CCE2}"/>
          </ac:grpSpMkLst>
        </pc:grpChg>
        <pc:grpChg chg="add mod">
          <ac:chgData name="Carlos Deghi" userId="a6d5b842-f429-4d48-b81f-4727776bba98" providerId="ADAL" clId="{66C837D4-09E8-4709-BB50-6BA0E9FF5C79}" dt="2023-12-04T10:16:35.112" v="1010" actId="1037"/>
          <ac:grpSpMkLst>
            <pc:docMk/>
            <pc:sldMk cId="1566175729" sldId="362"/>
            <ac:grpSpMk id="12" creationId="{72323501-79AB-CE73-F576-BDBD62D67522}"/>
          </ac:grpSpMkLst>
        </pc:grpChg>
        <pc:grpChg chg="del">
          <ac:chgData name="Carlos Deghi" userId="a6d5b842-f429-4d48-b81f-4727776bba98" providerId="ADAL" clId="{66C837D4-09E8-4709-BB50-6BA0E9FF5C79}" dt="2023-12-04T10:16:15.207" v="953" actId="478"/>
          <ac:grpSpMkLst>
            <pc:docMk/>
            <pc:sldMk cId="1566175729" sldId="362"/>
            <ac:grpSpMk id="66" creationId="{54933420-2B16-6AF1-0CCD-7EF3F8E0FF49}"/>
          </ac:grpSpMkLst>
        </pc:grpChg>
        <pc:graphicFrameChg chg="add mod modGraphic">
          <ac:chgData name="Carlos Deghi" userId="a6d5b842-f429-4d48-b81f-4727776bba98" providerId="ADAL" clId="{66C837D4-09E8-4709-BB50-6BA0E9FF5C79}" dt="2023-12-04T10:20:46.745" v="1189" actId="108"/>
          <ac:graphicFrameMkLst>
            <pc:docMk/>
            <pc:sldMk cId="1566175729" sldId="362"/>
            <ac:graphicFrameMk id="17" creationId="{341A063F-04C3-C49B-C074-2613EF821EE8}"/>
          </ac:graphicFrameMkLst>
        </pc:graphicFrameChg>
        <pc:graphicFrameChg chg="mod modGraphic">
          <ac:chgData name="Carlos Deghi" userId="a6d5b842-f429-4d48-b81f-4727776bba98" providerId="ADAL" clId="{66C837D4-09E8-4709-BB50-6BA0E9FF5C79}" dt="2023-12-06T10:49:51.019" v="3507"/>
          <ac:graphicFrameMkLst>
            <pc:docMk/>
            <pc:sldMk cId="1566175729" sldId="362"/>
            <ac:graphicFrameMk id="62" creationId="{A49174F9-712C-BD58-B380-D639BCABC259}"/>
          </ac:graphicFrameMkLst>
        </pc:graphicFrameChg>
      </pc:sldChg>
      <pc:sldChg chg="addSp delSp modSp mod chgLayout">
        <pc:chgData name="Carlos Deghi" userId="a6d5b842-f429-4d48-b81f-4727776bba98" providerId="ADAL" clId="{66C837D4-09E8-4709-BB50-6BA0E9FF5C79}" dt="2023-12-06T10:52:14.632" v="3513" actId="478"/>
        <pc:sldMkLst>
          <pc:docMk/>
          <pc:sldMk cId="1330509899" sldId="363"/>
        </pc:sldMkLst>
        <pc:spChg chg="add del mod ord">
          <ac:chgData name="Carlos Deghi" userId="a6d5b842-f429-4d48-b81f-4727776bba98" providerId="ADAL" clId="{66C837D4-09E8-4709-BB50-6BA0E9FF5C79}" dt="2023-12-06T10:52:14.632" v="3513" actId="478"/>
          <ac:spMkLst>
            <pc:docMk/>
            <pc:sldMk cId="1330509899" sldId="363"/>
            <ac:spMk id="2" creationId="{245D505A-4AA6-286F-E013-AE72DC022292}"/>
          </ac:spMkLst>
        </pc:spChg>
        <pc:spChg chg="del">
          <ac:chgData name="Carlos Deghi" userId="a6d5b842-f429-4d48-b81f-4727776bba98" providerId="ADAL" clId="{66C837D4-09E8-4709-BB50-6BA0E9FF5C79}" dt="2023-12-04T10:19:47.183" v="1153" actId="478"/>
          <ac:spMkLst>
            <pc:docMk/>
            <pc:sldMk cId="1330509899" sldId="363"/>
            <ac:spMk id="2" creationId="{D7D5B37F-16D5-6FF8-695E-4B4105FF89CB}"/>
          </ac:spMkLst>
        </pc:spChg>
        <pc:spChg chg="del">
          <ac:chgData name="Carlos Deghi" userId="a6d5b842-f429-4d48-b81f-4727776bba98" providerId="ADAL" clId="{66C837D4-09E8-4709-BB50-6BA0E9FF5C79}" dt="2023-12-04T10:13:45.602" v="870" actId="478"/>
          <ac:spMkLst>
            <pc:docMk/>
            <pc:sldMk cId="1330509899" sldId="363"/>
            <ac:spMk id="4" creationId="{7CA0C2DF-A4D5-24F9-29B7-8876FEECC426}"/>
          </ac:spMkLst>
        </pc:spChg>
        <pc:spChg chg="del">
          <ac:chgData name="Carlos Deghi" userId="a6d5b842-f429-4d48-b81f-4727776bba98" providerId="ADAL" clId="{66C837D4-09E8-4709-BB50-6BA0E9FF5C79}" dt="2023-12-04T10:13:45.602" v="870" actId="478"/>
          <ac:spMkLst>
            <pc:docMk/>
            <pc:sldMk cId="1330509899" sldId="363"/>
            <ac:spMk id="5" creationId="{2EADDCF9-6872-57FD-6F8F-449B376106D5}"/>
          </ac:spMkLst>
        </pc:spChg>
        <pc:spChg chg="del">
          <ac:chgData name="Carlos Deghi" userId="a6d5b842-f429-4d48-b81f-4727776bba98" providerId="ADAL" clId="{66C837D4-09E8-4709-BB50-6BA0E9FF5C79}" dt="2023-12-04T10:13:45.602" v="870" actId="478"/>
          <ac:spMkLst>
            <pc:docMk/>
            <pc:sldMk cId="1330509899" sldId="363"/>
            <ac:spMk id="6" creationId="{D72680EF-AF54-9BFA-7DE6-8D5F68E42730}"/>
          </ac:spMkLst>
        </pc:spChg>
        <pc:spChg chg="mod">
          <ac:chgData name="Carlos Deghi" userId="a6d5b842-f429-4d48-b81f-4727776bba98" providerId="ADAL" clId="{66C837D4-09E8-4709-BB50-6BA0E9FF5C79}" dt="2023-12-04T10:14:05.935" v="871"/>
          <ac:spMkLst>
            <pc:docMk/>
            <pc:sldMk cId="1330509899" sldId="363"/>
            <ac:spMk id="8" creationId="{D92B847C-EF22-52B0-808E-2D308F410A55}"/>
          </ac:spMkLst>
        </pc:spChg>
        <pc:spChg chg="mod ord">
          <ac:chgData name="Carlos Deghi" userId="a6d5b842-f429-4d48-b81f-4727776bba98" providerId="ADAL" clId="{66C837D4-09E8-4709-BB50-6BA0E9FF5C79}" dt="2023-12-06T10:52:11.293" v="3512" actId="700"/>
          <ac:spMkLst>
            <pc:docMk/>
            <pc:sldMk cId="1330509899" sldId="363"/>
            <ac:spMk id="9" creationId="{9920B200-4893-B28F-8D58-64DB3776FFBE}"/>
          </ac:spMkLst>
        </pc:spChg>
        <pc:spChg chg="mod">
          <ac:chgData name="Carlos Deghi" userId="a6d5b842-f429-4d48-b81f-4727776bba98" providerId="ADAL" clId="{66C837D4-09E8-4709-BB50-6BA0E9FF5C79}" dt="2023-12-04T10:14:05.935" v="871"/>
          <ac:spMkLst>
            <pc:docMk/>
            <pc:sldMk cId="1330509899" sldId="363"/>
            <ac:spMk id="16" creationId="{B6A808A4-5E0E-945B-D7FD-35301465647C}"/>
          </ac:spMkLst>
        </pc:spChg>
        <pc:spChg chg="mod">
          <ac:chgData name="Carlos Deghi" userId="a6d5b842-f429-4d48-b81f-4727776bba98" providerId="ADAL" clId="{66C837D4-09E8-4709-BB50-6BA0E9FF5C79}" dt="2023-12-04T10:14:05.935" v="871"/>
          <ac:spMkLst>
            <pc:docMk/>
            <pc:sldMk cId="1330509899" sldId="363"/>
            <ac:spMk id="17" creationId="{D0FFCD0F-BB14-3CCA-1B4D-E7A06EF6AFE2}"/>
          </ac:spMkLst>
        </pc:spChg>
        <pc:spChg chg="add mod ord">
          <ac:chgData name="Carlos Deghi" userId="a6d5b842-f429-4d48-b81f-4727776bba98" providerId="ADAL" clId="{66C837D4-09E8-4709-BB50-6BA0E9FF5C79}" dt="2023-12-04T10:19:51.893" v="1155" actId="167"/>
          <ac:spMkLst>
            <pc:docMk/>
            <pc:sldMk cId="1330509899" sldId="363"/>
            <ac:spMk id="19" creationId="{433E2449-99D2-7548-F6AA-D186C36FD2E0}"/>
          </ac:spMkLst>
        </pc:spChg>
        <pc:grpChg chg="add mod">
          <ac:chgData name="Carlos Deghi" userId="a6d5b842-f429-4d48-b81f-4727776bba98" providerId="ADAL" clId="{66C837D4-09E8-4709-BB50-6BA0E9FF5C79}" dt="2023-12-04T10:14:05.935" v="871"/>
          <ac:grpSpMkLst>
            <pc:docMk/>
            <pc:sldMk cId="1330509899" sldId="363"/>
            <ac:grpSpMk id="7" creationId="{119C10AF-A213-C432-7255-B161CCEE94CF}"/>
          </ac:grpSpMkLst>
        </pc:grpChg>
        <pc:grpChg chg="del">
          <ac:chgData name="Carlos Deghi" userId="a6d5b842-f429-4d48-b81f-4727776bba98" providerId="ADAL" clId="{66C837D4-09E8-4709-BB50-6BA0E9FF5C79}" dt="2023-12-04T10:13:40.562" v="869" actId="478"/>
          <ac:grpSpMkLst>
            <pc:docMk/>
            <pc:sldMk cId="1330509899" sldId="363"/>
            <ac:grpSpMk id="70" creationId="{FC8E25BA-373E-DE07-71B8-1255031CE513}"/>
          </ac:grpSpMkLst>
        </pc:grpChg>
        <pc:graphicFrameChg chg="add mod modGraphic">
          <ac:chgData name="Carlos Deghi" userId="a6d5b842-f429-4d48-b81f-4727776bba98" providerId="ADAL" clId="{66C837D4-09E8-4709-BB50-6BA0E9FF5C79}" dt="2023-12-04T10:20:23.081" v="1184" actId="14100"/>
          <ac:graphicFrameMkLst>
            <pc:docMk/>
            <pc:sldMk cId="1330509899" sldId="363"/>
            <ac:graphicFrameMk id="18" creationId="{63D01424-953D-3D05-8369-E5A40977B911}"/>
          </ac:graphicFrameMkLst>
        </pc:graphicFrameChg>
        <pc:graphicFrameChg chg="modGraphic">
          <ac:chgData name="Carlos Deghi" userId="a6d5b842-f429-4d48-b81f-4727776bba98" providerId="ADAL" clId="{66C837D4-09E8-4709-BB50-6BA0E9FF5C79}" dt="2023-12-05T18:11:39.474" v="3451" actId="20577"/>
          <ac:graphicFrameMkLst>
            <pc:docMk/>
            <pc:sldMk cId="1330509899" sldId="363"/>
            <ac:graphicFrameMk id="43" creationId="{AC38E1DA-8CF7-744B-8E3B-85320FC8B541}"/>
          </ac:graphicFrameMkLst>
        </pc:graphicFrameChg>
      </pc:sldChg>
      <pc:sldChg chg="mod chgLayout">
        <pc:chgData name="Carlos Deghi" userId="a6d5b842-f429-4d48-b81f-4727776bba98" providerId="ADAL" clId="{66C837D4-09E8-4709-BB50-6BA0E9FF5C79}" dt="2023-12-04T08:06:15.551" v="426" actId="700"/>
        <pc:sldMkLst>
          <pc:docMk/>
          <pc:sldMk cId="3078081030" sldId="386"/>
        </pc:sldMkLst>
      </pc:sldChg>
      <pc:sldChg chg="modSp mod">
        <pc:chgData name="Carlos Deghi" userId="a6d5b842-f429-4d48-b81f-4727776bba98" providerId="ADAL" clId="{66C837D4-09E8-4709-BB50-6BA0E9FF5C79}" dt="2023-12-04T08:37:50.966" v="658" actId="20577"/>
        <pc:sldMkLst>
          <pc:docMk/>
          <pc:sldMk cId="1079443549" sldId="387"/>
        </pc:sldMkLst>
        <pc:spChg chg="mod">
          <ac:chgData name="Carlos Deghi" userId="a6d5b842-f429-4d48-b81f-4727776bba98" providerId="ADAL" clId="{66C837D4-09E8-4709-BB50-6BA0E9FF5C79}" dt="2023-12-04T08:37:50.966" v="658" actId="20577"/>
          <ac:spMkLst>
            <pc:docMk/>
            <pc:sldMk cId="1079443549" sldId="387"/>
            <ac:spMk id="6" creationId="{1285657A-5478-B053-D342-8C9D828AF4E9}"/>
          </ac:spMkLst>
        </pc:spChg>
      </pc:sldChg>
      <pc:sldChg chg="delSp mod">
        <pc:chgData name="Carlos Deghi" userId="a6d5b842-f429-4d48-b81f-4727776bba98" providerId="ADAL" clId="{66C837D4-09E8-4709-BB50-6BA0E9FF5C79}" dt="2023-12-04T08:37:14.935" v="647" actId="478"/>
        <pc:sldMkLst>
          <pc:docMk/>
          <pc:sldMk cId="3901137987" sldId="1177"/>
        </pc:sldMkLst>
        <pc:grpChg chg="del">
          <ac:chgData name="Carlos Deghi" userId="a6d5b842-f429-4d48-b81f-4727776bba98" providerId="ADAL" clId="{66C837D4-09E8-4709-BB50-6BA0E9FF5C79}" dt="2023-12-04T08:37:14.935" v="647" actId="478"/>
          <ac:grpSpMkLst>
            <pc:docMk/>
            <pc:sldMk cId="3901137987" sldId="1177"/>
            <ac:grpSpMk id="20" creationId="{37BF8F18-A250-4FC6-92B7-30ADC4C65A4F}"/>
          </ac:grpSpMkLst>
        </pc:grpChg>
      </pc:sldChg>
      <pc:sldChg chg="modSp mod">
        <pc:chgData name="Carlos Deghi" userId="a6d5b842-f429-4d48-b81f-4727776bba98" providerId="ADAL" clId="{66C837D4-09E8-4709-BB50-6BA0E9FF5C79}" dt="2023-12-04T08:37:37.972" v="652" actId="20577"/>
        <pc:sldMkLst>
          <pc:docMk/>
          <pc:sldMk cId="850326295" sldId="1179"/>
        </pc:sldMkLst>
        <pc:spChg chg="mod">
          <ac:chgData name="Carlos Deghi" userId="a6d5b842-f429-4d48-b81f-4727776bba98" providerId="ADAL" clId="{66C837D4-09E8-4709-BB50-6BA0E9FF5C79}" dt="2023-12-04T08:37:37.972" v="652" actId="20577"/>
          <ac:spMkLst>
            <pc:docMk/>
            <pc:sldMk cId="850326295" sldId="1179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12.106" v="684" actId="20577"/>
        <pc:sldMkLst>
          <pc:docMk/>
          <pc:sldMk cId="881352458" sldId="1180"/>
        </pc:sldMkLst>
        <pc:spChg chg="mod">
          <ac:chgData name="Carlos Deghi" userId="a6d5b842-f429-4d48-b81f-4727776bba98" providerId="ADAL" clId="{66C837D4-09E8-4709-BB50-6BA0E9FF5C79}" dt="2023-12-04T08:40:12.106" v="684" actId="20577"/>
          <ac:spMkLst>
            <pc:docMk/>
            <pc:sldMk cId="881352458" sldId="1180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17.950" v="687" actId="20577"/>
        <pc:sldMkLst>
          <pc:docMk/>
          <pc:sldMk cId="2302430854" sldId="1181"/>
        </pc:sldMkLst>
        <pc:spChg chg="mod">
          <ac:chgData name="Carlos Deghi" userId="a6d5b842-f429-4d48-b81f-4727776bba98" providerId="ADAL" clId="{66C837D4-09E8-4709-BB50-6BA0E9FF5C79}" dt="2023-12-04T08:40:17.950" v="687" actId="20577"/>
          <ac:spMkLst>
            <pc:docMk/>
            <pc:sldMk cId="2302430854" sldId="1181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06.916" v="681" actId="20577"/>
        <pc:sldMkLst>
          <pc:docMk/>
          <pc:sldMk cId="1751228654" sldId="1182"/>
        </pc:sldMkLst>
        <pc:spChg chg="mod">
          <ac:chgData name="Carlos Deghi" userId="a6d5b842-f429-4d48-b81f-4727776bba98" providerId="ADAL" clId="{66C837D4-09E8-4709-BB50-6BA0E9FF5C79}" dt="2023-12-04T08:40:06.916" v="681" actId="20577"/>
          <ac:spMkLst>
            <pc:docMk/>
            <pc:sldMk cId="1751228654" sldId="1182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26.599" v="690" actId="20577"/>
        <pc:sldMkLst>
          <pc:docMk/>
          <pc:sldMk cId="2996781954" sldId="1183"/>
        </pc:sldMkLst>
        <pc:spChg chg="mod">
          <ac:chgData name="Carlos Deghi" userId="a6d5b842-f429-4d48-b81f-4727776bba98" providerId="ADAL" clId="{66C837D4-09E8-4709-BB50-6BA0E9FF5C79}" dt="2023-12-04T08:40:26.599" v="690" actId="20577"/>
          <ac:spMkLst>
            <pc:docMk/>
            <pc:sldMk cId="2996781954" sldId="1183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33.514" v="693" actId="20577"/>
        <pc:sldMkLst>
          <pc:docMk/>
          <pc:sldMk cId="179159656" sldId="1184"/>
        </pc:sldMkLst>
        <pc:spChg chg="mod">
          <ac:chgData name="Carlos Deghi" userId="a6d5b842-f429-4d48-b81f-4727776bba98" providerId="ADAL" clId="{66C837D4-09E8-4709-BB50-6BA0E9FF5C79}" dt="2023-12-04T08:40:33.514" v="693" actId="20577"/>
          <ac:spMkLst>
            <pc:docMk/>
            <pc:sldMk cId="179159656" sldId="1184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37.737" v="696" actId="20577"/>
        <pc:sldMkLst>
          <pc:docMk/>
          <pc:sldMk cId="4084968575" sldId="1185"/>
        </pc:sldMkLst>
        <pc:spChg chg="mod">
          <ac:chgData name="Carlos Deghi" userId="a6d5b842-f429-4d48-b81f-4727776bba98" providerId="ADAL" clId="{66C837D4-09E8-4709-BB50-6BA0E9FF5C79}" dt="2023-12-04T08:40:37.737" v="696" actId="20577"/>
          <ac:spMkLst>
            <pc:docMk/>
            <pc:sldMk cId="4084968575" sldId="1185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46.371" v="702" actId="20577"/>
        <pc:sldMkLst>
          <pc:docMk/>
          <pc:sldMk cId="1793372239" sldId="1186"/>
        </pc:sldMkLst>
        <pc:spChg chg="mod">
          <ac:chgData name="Carlos Deghi" userId="a6d5b842-f429-4d48-b81f-4727776bba98" providerId="ADAL" clId="{66C837D4-09E8-4709-BB50-6BA0E9FF5C79}" dt="2023-12-04T08:40:46.371" v="702" actId="20577"/>
          <ac:spMkLst>
            <pc:docMk/>
            <pc:sldMk cId="1793372239" sldId="1186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0:41.768" v="699" actId="20577"/>
        <pc:sldMkLst>
          <pc:docMk/>
          <pc:sldMk cId="1869207283" sldId="1188"/>
        </pc:sldMkLst>
        <pc:spChg chg="mod">
          <ac:chgData name="Carlos Deghi" userId="a6d5b842-f429-4d48-b81f-4727776bba98" providerId="ADAL" clId="{66C837D4-09E8-4709-BB50-6BA0E9FF5C79}" dt="2023-12-04T08:40:41.768" v="699" actId="20577"/>
          <ac:spMkLst>
            <pc:docMk/>
            <pc:sldMk cId="1869207283" sldId="1188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39:56.425" v="675" actId="20577"/>
        <pc:sldMkLst>
          <pc:docMk/>
          <pc:sldMk cId="4122750126" sldId="1189"/>
        </pc:sldMkLst>
        <pc:spChg chg="mod">
          <ac:chgData name="Carlos Deghi" userId="a6d5b842-f429-4d48-b81f-4727776bba98" providerId="ADAL" clId="{66C837D4-09E8-4709-BB50-6BA0E9FF5C79}" dt="2023-12-04T08:39:56.425" v="675" actId="20577"/>
          <ac:spMkLst>
            <pc:docMk/>
            <pc:sldMk cId="4122750126" sldId="1189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39:04.184" v="661" actId="20577"/>
        <pc:sldMkLst>
          <pc:docMk/>
          <pc:sldMk cId="1272869818" sldId="1306"/>
        </pc:sldMkLst>
        <pc:spChg chg="mod">
          <ac:chgData name="Carlos Deghi" userId="a6d5b842-f429-4d48-b81f-4727776bba98" providerId="ADAL" clId="{66C837D4-09E8-4709-BB50-6BA0E9FF5C79}" dt="2023-12-04T08:39:04.184" v="661" actId="20577"/>
          <ac:spMkLst>
            <pc:docMk/>
            <pc:sldMk cId="1272869818" sldId="1306"/>
            <ac:spMk id="8" creationId="{50B3894C-CD30-4D8E-8A6E-1761370184BD}"/>
          </ac:spMkLst>
        </pc:spChg>
      </pc:sldChg>
      <pc:sldChg chg="modSp mod">
        <pc:chgData name="Carlos Deghi" userId="a6d5b842-f429-4d48-b81f-4727776bba98" providerId="ADAL" clId="{66C837D4-09E8-4709-BB50-6BA0E9FF5C79}" dt="2023-12-04T08:39:22.861" v="670" actId="20577"/>
        <pc:sldMkLst>
          <pc:docMk/>
          <pc:sldMk cId="3298356342" sldId="2866"/>
        </pc:sldMkLst>
        <pc:spChg chg="mod">
          <ac:chgData name="Carlos Deghi" userId="a6d5b842-f429-4d48-b81f-4727776bba98" providerId="ADAL" clId="{66C837D4-09E8-4709-BB50-6BA0E9FF5C79}" dt="2023-12-04T08:39:22.861" v="670" actId="20577"/>
          <ac:spMkLst>
            <pc:docMk/>
            <pc:sldMk cId="3298356342" sldId="2866"/>
            <ac:spMk id="3" creationId="{2036A75D-D749-4A0F-9340-6D539AFFCEFB}"/>
          </ac:spMkLst>
        </pc:spChg>
      </pc:sldChg>
      <pc:sldChg chg="modSp mod">
        <pc:chgData name="Carlos Deghi" userId="a6d5b842-f429-4d48-b81f-4727776bba98" providerId="ADAL" clId="{66C837D4-09E8-4709-BB50-6BA0E9FF5C79}" dt="2023-12-04T08:37:44.215" v="655" actId="20577"/>
        <pc:sldMkLst>
          <pc:docMk/>
          <pc:sldMk cId="2134159956" sldId="2959"/>
        </pc:sldMkLst>
        <pc:spChg chg="mod">
          <ac:chgData name="Carlos Deghi" userId="a6d5b842-f429-4d48-b81f-4727776bba98" providerId="ADAL" clId="{66C837D4-09E8-4709-BB50-6BA0E9FF5C79}" dt="2023-12-04T08:37:44.215" v="655" actId="20577"/>
          <ac:spMkLst>
            <pc:docMk/>
            <pc:sldMk cId="2134159956" sldId="2959"/>
            <ac:spMk id="5" creationId="{691BD817-ED31-4962-832B-1254437B69A3}"/>
          </ac:spMkLst>
        </pc:spChg>
      </pc:sldChg>
      <pc:sldChg chg="del">
        <pc:chgData name="Carlos Deghi" userId="a6d5b842-f429-4d48-b81f-4727776bba98" providerId="ADAL" clId="{66C837D4-09E8-4709-BB50-6BA0E9FF5C79}" dt="2023-12-06T10:46:22.741" v="3506" actId="47"/>
        <pc:sldMkLst>
          <pc:docMk/>
          <pc:sldMk cId="2277643274" sldId="2983"/>
        </pc:sldMkLst>
      </pc:sldChg>
      <pc:sldChg chg="addSp delSp modSp mod chgLayout">
        <pc:chgData name="Carlos Deghi" userId="a6d5b842-f429-4d48-b81f-4727776bba98" providerId="ADAL" clId="{66C837D4-09E8-4709-BB50-6BA0E9FF5C79}" dt="2023-12-05T18:03:10.195" v="3401" actId="20577"/>
        <pc:sldMkLst>
          <pc:docMk/>
          <pc:sldMk cId="2663045011" sldId="2984"/>
        </pc:sldMkLst>
        <pc:spChg chg="mod ord">
          <ac:chgData name="Carlos Deghi" userId="a6d5b842-f429-4d48-b81f-4727776bba98" providerId="ADAL" clId="{66C837D4-09E8-4709-BB50-6BA0E9FF5C79}" dt="2023-12-04T08:39:36.615" v="671" actId="700"/>
          <ac:spMkLst>
            <pc:docMk/>
            <pc:sldMk cId="2663045011" sldId="2984"/>
            <ac:spMk id="4" creationId="{841D2EC1-2405-7246-E949-CC15A3C15EA6}"/>
          </ac:spMkLst>
        </pc:spChg>
        <pc:spChg chg="add del mod ord">
          <ac:chgData name="Carlos Deghi" userId="a6d5b842-f429-4d48-b81f-4727776bba98" providerId="ADAL" clId="{66C837D4-09E8-4709-BB50-6BA0E9FF5C79}" dt="2023-12-04T08:39:45.063" v="672" actId="478"/>
          <ac:spMkLst>
            <pc:docMk/>
            <pc:sldMk cId="2663045011" sldId="2984"/>
            <ac:spMk id="8" creationId="{66017333-A091-4F25-7A72-8C3DF1DFB427}"/>
          </ac:spMkLst>
        </pc:spChg>
        <pc:graphicFrameChg chg="modGraphic">
          <ac:chgData name="Carlos Deghi" userId="a6d5b842-f429-4d48-b81f-4727776bba98" providerId="ADAL" clId="{66C837D4-09E8-4709-BB50-6BA0E9FF5C79}" dt="2023-12-05T18:03:10.195" v="3401" actId="20577"/>
          <ac:graphicFrameMkLst>
            <pc:docMk/>
            <pc:sldMk cId="2663045011" sldId="2984"/>
            <ac:graphicFrameMk id="36" creationId="{4611D9A7-E0D8-D3C1-D23D-E12DC89DE483}"/>
          </ac:graphicFrameMkLst>
        </pc:graphicFrameChg>
      </pc:sldChg>
      <pc:sldChg chg="modSp mod">
        <pc:chgData name="Carlos Deghi" userId="a6d5b842-f429-4d48-b81f-4727776bba98" providerId="ADAL" clId="{66C837D4-09E8-4709-BB50-6BA0E9FF5C79}" dt="2023-12-04T08:40:02.126" v="678" actId="20577"/>
        <pc:sldMkLst>
          <pc:docMk/>
          <pc:sldMk cId="3825079526" sldId="3001"/>
        </pc:sldMkLst>
        <pc:spChg chg="mod">
          <ac:chgData name="Carlos Deghi" userId="a6d5b842-f429-4d48-b81f-4727776bba98" providerId="ADAL" clId="{66C837D4-09E8-4709-BB50-6BA0E9FF5C79}" dt="2023-12-04T08:40:02.126" v="678" actId="20577"/>
          <ac:spMkLst>
            <pc:docMk/>
            <pc:sldMk cId="3825079526" sldId="3001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05:44.467" v="425" actId="20577"/>
        <pc:sldMkLst>
          <pc:docMk/>
          <pc:sldMk cId="820196488" sldId="3002"/>
        </pc:sldMkLst>
        <pc:spChg chg="mod">
          <ac:chgData name="Carlos Deghi" userId="a6d5b842-f429-4d48-b81f-4727776bba98" providerId="ADAL" clId="{66C837D4-09E8-4709-BB50-6BA0E9FF5C79}" dt="2023-12-04T08:05:44.467" v="425" actId="20577"/>
          <ac:spMkLst>
            <pc:docMk/>
            <pc:sldMk cId="820196488" sldId="3002"/>
            <ac:spMk id="3" creationId="{126479F0-32E4-4FE3-AC2D-380012FE8EFB}"/>
          </ac:spMkLst>
        </pc:spChg>
      </pc:sldChg>
      <pc:sldChg chg="modSp mod">
        <pc:chgData name="Carlos Deghi" userId="a6d5b842-f429-4d48-b81f-4727776bba98" providerId="ADAL" clId="{66C837D4-09E8-4709-BB50-6BA0E9FF5C79}" dt="2023-12-04T08:39:09.710" v="664" actId="20577"/>
        <pc:sldMkLst>
          <pc:docMk/>
          <pc:sldMk cId="207592446" sldId="3003"/>
        </pc:sldMkLst>
        <pc:spChg chg="mod">
          <ac:chgData name="Carlos Deghi" userId="a6d5b842-f429-4d48-b81f-4727776bba98" providerId="ADAL" clId="{66C837D4-09E8-4709-BB50-6BA0E9FF5C79}" dt="2023-12-04T08:39:09.710" v="664" actId="20577"/>
          <ac:spMkLst>
            <pc:docMk/>
            <pc:sldMk cId="207592446" sldId="3003"/>
            <ac:spMk id="3" creationId="{F854C607-31FB-491E-909C-871D43087A79}"/>
          </ac:spMkLst>
        </pc:spChg>
      </pc:sldChg>
      <pc:sldChg chg="modSp mod">
        <pc:chgData name="Carlos Deghi" userId="a6d5b842-f429-4d48-b81f-4727776bba98" providerId="ADAL" clId="{66C837D4-09E8-4709-BB50-6BA0E9FF5C79}" dt="2023-12-04T08:39:15.605" v="667" actId="20577"/>
        <pc:sldMkLst>
          <pc:docMk/>
          <pc:sldMk cId="1247452186" sldId="3004"/>
        </pc:sldMkLst>
        <pc:spChg chg="mod">
          <ac:chgData name="Carlos Deghi" userId="a6d5b842-f429-4d48-b81f-4727776bba98" providerId="ADAL" clId="{66C837D4-09E8-4709-BB50-6BA0E9FF5C79}" dt="2023-12-04T08:39:15.605" v="667" actId="20577"/>
          <ac:spMkLst>
            <pc:docMk/>
            <pc:sldMk cId="1247452186" sldId="3004"/>
            <ac:spMk id="3" creationId="{9973AD21-34CE-4BB7-B543-D82820144BA6}"/>
          </ac:spMkLst>
        </pc:spChg>
      </pc:sldChg>
      <pc:sldChg chg="modSp mod">
        <pc:chgData name="Carlos Deghi" userId="a6d5b842-f429-4d48-b81f-4727776bba98" providerId="ADAL" clId="{66C837D4-09E8-4709-BB50-6BA0E9FF5C79}" dt="2023-12-04T08:42:09.752" v="721" actId="20577"/>
        <pc:sldMkLst>
          <pc:docMk/>
          <pc:sldMk cId="3488331782" sldId="3018"/>
        </pc:sldMkLst>
        <pc:spChg chg="mod">
          <ac:chgData name="Carlos Deghi" userId="a6d5b842-f429-4d48-b81f-4727776bba98" providerId="ADAL" clId="{66C837D4-09E8-4709-BB50-6BA0E9FF5C79}" dt="2023-12-04T08:42:09.752" v="721" actId="20577"/>
          <ac:spMkLst>
            <pc:docMk/>
            <pc:sldMk cId="3488331782" sldId="3018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11:20:37.469" v="3092" actId="20577"/>
        <pc:sldMkLst>
          <pc:docMk/>
          <pc:sldMk cId="1914204330" sldId="3020"/>
        </pc:sldMkLst>
        <pc:spChg chg="mod">
          <ac:chgData name="Carlos Deghi" userId="a6d5b842-f429-4d48-b81f-4727776bba98" providerId="ADAL" clId="{66C837D4-09E8-4709-BB50-6BA0E9FF5C79}" dt="2023-12-04T11:20:37.469" v="3092" actId="20577"/>
          <ac:spMkLst>
            <pc:docMk/>
            <pc:sldMk cId="1914204330" sldId="3020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2:25.578" v="730" actId="20577"/>
        <pc:sldMkLst>
          <pc:docMk/>
          <pc:sldMk cId="2544188981" sldId="3022"/>
        </pc:sldMkLst>
        <pc:spChg chg="mod">
          <ac:chgData name="Carlos Deghi" userId="a6d5b842-f429-4d48-b81f-4727776bba98" providerId="ADAL" clId="{66C837D4-09E8-4709-BB50-6BA0E9FF5C79}" dt="2023-12-04T08:42:25.578" v="730" actId="20577"/>
          <ac:spMkLst>
            <pc:docMk/>
            <pc:sldMk cId="2544188981" sldId="3022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2:30.357" v="733" actId="20577"/>
        <pc:sldMkLst>
          <pc:docMk/>
          <pc:sldMk cId="1023591620" sldId="3023"/>
        </pc:sldMkLst>
        <pc:spChg chg="mod">
          <ac:chgData name="Carlos Deghi" userId="a6d5b842-f429-4d48-b81f-4727776bba98" providerId="ADAL" clId="{66C837D4-09E8-4709-BB50-6BA0E9FF5C79}" dt="2023-12-04T08:42:30.357" v="733" actId="20577"/>
          <ac:spMkLst>
            <pc:docMk/>
            <pc:sldMk cId="1023591620" sldId="3023"/>
            <ac:spMk id="5" creationId="{691BD817-ED31-4962-832B-1254437B69A3}"/>
          </ac:spMkLst>
        </pc:spChg>
      </pc:sldChg>
      <pc:sldChg chg="ord">
        <pc:chgData name="Carlos Deghi" userId="a6d5b842-f429-4d48-b81f-4727776bba98" providerId="ADAL" clId="{66C837D4-09E8-4709-BB50-6BA0E9FF5C79}" dt="2023-12-04T12:44:39.928" v="3348"/>
        <pc:sldMkLst>
          <pc:docMk/>
          <pc:sldMk cId="2844950218" sldId="3025"/>
        </pc:sldMkLst>
      </pc:sldChg>
      <pc:sldChg chg="modSp mod">
        <pc:chgData name="Carlos Deghi" userId="a6d5b842-f429-4d48-b81f-4727776bba98" providerId="ADAL" clId="{66C837D4-09E8-4709-BB50-6BA0E9FF5C79}" dt="2023-12-04T08:42:38.090" v="736" actId="20577"/>
        <pc:sldMkLst>
          <pc:docMk/>
          <pc:sldMk cId="491092627" sldId="3028"/>
        </pc:sldMkLst>
        <pc:spChg chg="mod">
          <ac:chgData name="Carlos Deghi" userId="a6d5b842-f429-4d48-b81f-4727776bba98" providerId="ADAL" clId="{66C837D4-09E8-4709-BB50-6BA0E9FF5C79}" dt="2023-12-04T08:42:38.090" v="736" actId="20577"/>
          <ac:spMkLst>
            <pc:docMk/>
            <pc:sldMk cId="491092627" sldId="3028"/>
            <ac:spMk id="5" creationId="{691BD817-ED31-4962-832B-1254437B69A3}"/>
          </ac:spMkLst>
        </pc:spChg>
      </pc:sldChg>
      <pc:sldChg chg="modSp mod">
        <pc:chgData name="Carlos Deghi" userId="a6d5b842-f429-4d48-b81f-4727776bba98" providerId="ADAL" clId="{66C837D4-09E8-4709-BB50-6BA0E9FF5C79}" dt="2023-12-04T08:42:16.016" v="724" actId="20577"/>
        <pc:sldMkLst>
          <pc:docMk/>
          <pc:sldMk cId="3872028945" sldId="3037"/>
        </pc:sldMkLst>
        <pc:spChg chg="mod">
          <ac:chgData name="Carlos Deghi" userId="a6d5b842-f429-4d48-b81f-4727776bba98" providerId="ADAL" clId="{66C837D4-09E8-4709-BB50-6BA0E9FF5C79}" dt="2023-12-04T08:42:16.016" v="724" actId="20577"/>
          <ac:spMkLst>
            <pc:docMk/>
            <pc:sldMk cId="3872028945" sldId="3037"/>
            <ac:spMk id="5" creationId="{691BD817-ED31-4962-832B-1254437B69A3}"/>
          </ac:spMkLst>
        </pc:spChg>
      </pc:sldChg>
      <pc:sldChg chg="addSp delSp modSp mod chgLayout">
        <pc:chgData name="Carlos Deghi" userId="a6d5b842-f429-4d48-b81f-4727776bba98" providerId="ADAL" clId="{66C837D4-09E8-4709-BB50-6BA0E9FF5C79}" dt="2023-12-04T12:42:32.492" v="3338"/>
        <pc:sldMkLst>
          <pc:docMk/>
          <pc:sldMk cId="401339475" sldId="3039"/>
        </pc:sldMkLst>
        <pc:spChg chg="mod">
          <ac:chgData name="Carlos Deghi" userId="a6d5b842-f429-4d48-b81f-4727776bba98" providerId="ADAL" clId="{66C837D4-09E8-4709-BB50-6BA0E9FF5C79}" dt="2023-12-04T10:17:43.418" v="1075" actId="14100"/>
          <ac:spMkLst>
            <pc:docMk/>
            <pc:sldMk cId="401339475" sldId="3039"/>
            <ac:spMk id="2" creationId="{D7D5B37F-16D5-6FF8-695E-4B4105FF89CB}"/>
          </ac:spMkLst>
        </pc:spChg>
        <pc:spChg chg="mod">
          <ac:chgData name="Carlos Deghi" userId="a6d5b842-f429-4d48-b81f-4727776bba98" providerId="ADAL" clId="{66C837D4-09E8-4709-BB50-6BA0E9FF5C79}" dt="2023-12-04T10:17:16.156" v="1014"/>
          <ac:spMkLst>
            <pc:docMk/>
            <pc:sldMk cId="401339475" sldId="3039"/>
            <ac:spMk id="12" creationId="{C7AA5AC0-A01B-867C-DF7B-216DC2B087F5}"/>
          </ac:spMkLst>
        </pc:spChg>
        <pc:spChg chg="mod">
          <ac:chgData name="Carlos Deghi" userId="a6d5b842-f429-4d48-b81f-4727776bba98" providerId="ADAL" clId="{66C837D4-09E8-4709-BB50-6BA0E9FF5C79}" dt="2023-12-04T10:17:16.156" v="1014"/>
          <ac:spMkLst>
            <pc:docMk/>
            <pc:sldMk cId="401339475" sldId="3039"/>
            <ac:spMk id="13" creationId="{152F2C42-CD4C-0A4F-A6D2-BA3A56FA790E}"/>
          </ac:spMkLst>
        </pc:spChg>
        <pc:spChg chg="mod">
          <ac:chgData name="Carlos Deghi" userId="a6d5b842-f429-4d48-b81f-4727776bba98" providerId="ADAL" clId="{66C837D4-09E8-4709-BB50-6BA0E9FF5C79}" dt="2023-12-04T10:17:16.156" v="1014"/>
          <ac:spMkLst>
            <pc:docMk/>
            <pc:sldMk cId="401339475" sldId="3039"/>
            <ac:spMk id="14" creationId="{D07176F2-0961-6C82-428F-E487716D760E}"/>
          </ac:spMkLst>
        </pc:spChg>
        <pc:spChg chg="mod">
          <ac:chgData name="Carlos Deghi" userId="a6d5b842-f429-4d48-b81f-4727776bba98" providerId="ADAL" clId="{66C837D4-09E8-4709-BB50-6BA0E9FF5C79}" dt="2023-12-04T10:17:18.954" v="1015"/>
          <ac:spMkLst>
            <pc:docMk/>
            <pc:sldMk cId="401339475" sldId="3039"/>
            <ac:spMk id="16" creationId="{85DE067B-2B37-94DC-C335-62AD2575E437}"/>
          </ac:spMkLst>
        </pc:spChg>
        <pc:spChg chg="mod">
          <ac:chgData name="Carlos Deghi" userId="a6d5b842-f429-4d48-b81f-4727776bba98" providerId="ADAL" clId="{66C837D4-09E8-4709-BB50-6BA0E9FF5C79}" dt="2023-12-04T10:17:18.954" v="1015"/>
          <ac:spMkLst>
            <pc:docMk/>
            <pc:sldMk cId="401339475" sldId="3039"/>
            <ac:spMk id="17" creationId="{7BD661C5-6891-7B9D-4F4E-B0512AB6985F}"/>
          </ac:spMkLst>
        </pc:spChg>
        <pc:spChg chg="mod">
          <ac:chgData name="Carlos Deghi" userId="a6d5b842-f429-4d48-b81f-4727776bba98" providerId="ADAL" clId="{66C837D4-09E8-4709-BB50-6BA0E9FF5C79}" dt="2023-12-04T10:17:18.954" v="1015"/>
          <ac:spMkLst>
            <pc:docMk/>
            <pc:sldMk cId="401339475" sldId="3039"/>
            <ac:spMk id="18" creationId="{845E5C87-9663-A4D2-B7F9-F54E476CA626}"/>
          </ac:spMkLst>
        </pc:spChg>
        <pc:spChg chg="add del mod ord">
          <ac:chgData name="Carlos Deghi" userId="a6d5b842-f429-4d48-b81f-4727776bba98" providerId="ADAL" clId="{66C837D4-09E8-4709-BB50-6BA0E9FF5C79}" dt="2023-12-04T10:36:54.020" v="1485" actId="478"/>
          <ac:spMkLst>
            <pc:docMk/>
            <pc:sldMk cId="401339475" sldId="3039"/>
            <ac:spMk id="20" creationId="{D658F8F5-D756-CAD0-C74B-875941FB625C}"/>
          </ac:spMkLst>
        </pc:spChg>
        <pc:spChg chg="del">
          <ac:chgData name="Carlos Deghi" userId="a6d5b842-f429-4d48-b81f-4727776bba98" providerId="ADAL" clId="{66C837D4-09E8-4709-BB50-6BA0E9FF5C79}" dt="2023-12-04T10:17:04.398" v="1012" actId="478"/>
          <ac:spMkLst>
            <pc:docMk/>
            <pc:sldMk cId="401339475" sldId="3039"/>
            <ac:spMk id="63" creationId="{8537A76C-FDC9-5D2E-8B18-A3624778EEDC}"/>
          </ac:spMkLst>
        </pc:spChg>
        <pc:spChg chg="del">
          <ac:chgData name="Carlos Deghi" userId="a6d5b842-f429-4d48-b81f-4727776bba98" providerId="ADAL" clId="{66C837D4-09E8-4709-BB50-6BA0E9FF5C79}" dt="2023-12-04T10:17:04.398" v="1012" actId="478"/>
          <ac:spMkLst>
            <pc:docMk/>
            <pc:sldMk cId="401339475" sldId="3039"/>
            <ac:spMk id="74" creationId="{8C277DF5-EDAE-2BBB-81BC-6EB41996F333}"/>
          </ac:spMkLst>
        </pc:spChg>
        <pc:spChg chg="del">
          <ac:chgData name="Carlos Deghi" userId="a6d5b842-f429-4d48-b81f-4727776bba98" providerId="ADAL" clId="{66C837D4-09E8-4709-BB50-6BA0E9FF5C79}" dt="2023-12-04T10:17:04.398" v="1012" actId="478"/>
          <ac:spMkLst>
            <pc:docMk/>
            <pc:sldMk cId="401339475" sldId="3039"/>
            <ac:spMk id="75" creationId="{49A65FBF-DDA2-BF6D-4B99-130840812EB6}"/>
          </ac:spMkLst>
        </pc:spChg>
        <pc:spChg chg="mod ord">
          <ac:chgData name="Carlos Deghi" userId="a6d5b842-f429-4d48-b81f-4727776bba98" providerId="ADAL" clId="{66C837D4-09E8-4709-BB50-6BA0E9FF5C79}" dt="2023-12-04T11:15:29.724" v="3072" actId="20577"/>
          <ac:spMkLst>
            <pc:docMk/>
            <pc:sldMk cId="401339475" sldId="3039"/>
            <ac:spMk id="80" creationId="{23320BCB-A583-C35B-6F4F-191D42B10434}"/>
          </ac:spMkLst>
        </pc:spChg>
        <pc:grpChg chg="del">
          <ac:chgData name="Carlos Deghi" userId="a6d5b842-f429-4d48-b81f-4727776bba98" providerId="ADAL" clId="{66C837D4-09E8-4709-BB50-6BA0E9FF5C79}" dt="2023-12-04T10:17:06.765" v="1013" actId="478"/>
          <ac:grpSpMkLst>
            <pc:docMk/>
            <pc:sldMk cId="401339475" sldId="3039"/>
            <ac:grpSpMk id="4" creationId="{C7BD193A-3E18-B4F0-2A52-0FDB99D1DD48}"/>
          </ac:grpSpMkLst>
        </pc:grpChg>
        <pc:grpChg chg="add del mod">
          <ac:chgData name="Carlos Deghi" userId="a6d5b842-f429-4d48-b81f-4727776bba98" providerId="ADAL" clId="{66C837D4-09E8-4709-BB50-6BA0E9FF5C79}" dt="2023-12-04T10:17:39.400" v="1074" actId="478"/>
          <ac:grpSpMkLst>
            <pc:docMk/>
            <pc:sldMk cId="401339475" sldId="3039"/>
            <ac:grpSpMk id="11" creationId="{B1039ABF-7405-E5BB-1F9B-81C4C880A192}"/>
          </ac:grpSpMkLst>
        </pc:grpChg>
        <pc:grpChg chg="add mod">
          <ac:chgData name="Carlos Deghi" userId="a6d5b842-f429-4d48-b81f-4727776bba98" providerId="ADAL" clId="{66C837D4-09E8-4709-BB50-6BA0E9FF5C79}" dt="2023-12-04T10:17:31.368" v="1073" actId="1038"/>
          <ac:grpSpMkLst>
            <pc:docMk/>
            <pc:sldMk cId="401339475" sldId="3039"/>
            <ac:grpSpMk id="15" creationId="{76F3D054-2448-8C27-1604-9696DF2A105E}"/>
          </ac:grpSpMkLst>
        </pc:grpChg>
        <pc:graphicFrameChg chg="add mod modGraphic">
          <ac:chgData name="Carlos Deghi" userId="a6d5b842-f429-4d48-b81f-4727776bba98" providerId="ADAL" clId="{66C837D4-09E8-4709-BB50-6BA0E9FF5C79}" dt="2023-12-04T10:21:12.484" v="1194" actId="108"/>
          <ac:graphicFrameMkLst>
            <pc:docMk/>
            <pc:sldMk cId="401339475" sldId="3039"/>
            <ac:graphicFrameMk id="19" creationId="{51A37BEA-9D7D-5424-FD9B-59F3758891DB}"/>
          </ac:graphicFrameMkLst>
        </pc:graphicFrameChg>
        <pc:graphicFrameChg chg="mod modGraphic">
          <ac:chgData name="Carlos Deghi" userId="a6d5b842-f429-4d48-b81f-4727776bba98" providerId="ADAL" clId="{66C837D4-09E8-4709-BB50-6BA0E9FF5C79}" dt="2023-12-04T11:18:16.376" v="3083" actId="20577"/>
          <ac:graphicFrameMkLst>
            <pc:docMk/>
            <pc:sldMk cId="401339475" sldId="3039"/>
            <ac:graphicFrameMk id="79" creationId="{E657733D-1710-C132-E3B4-0C2A428E1581}"/>
          </ac:graphicFrameMkLst>
        </pc:graphicFrameChg>
        <pc:picChg chg="mod">
          <ac:chgData name="Carlos Deghi" userId="a6d5b842-f429-4d48-b81f-4727776bba98" providerId="ADAL" clId="{66C837D4-09E8-4709-BB50-6BA0E9FF5C79}" dt="2023-12-04T12:42:32.492" v="3338"/>
          <ac:picMkLst>
            <pc:docMk/>
            <pc:sldMk cId="401339475" sldId="3039"/>
            <ac:picMk id="9" creationId="{2EF7F7E8-B6EA-50EB-46C8-A153BD200576}"/>
          </ac:picMkLst>
        </pc:picChg>
      </pc:sldChg>
      <pc:sldChg chg="addSp delSp modSp mod chgLayout">
        <pc:chgData name="Carlos Deghi" userId="a6d5b842-f429-4d48-b81f-4727776bba98" providerId="ADAL" clId="{66C837D4-09E8-4709-BB50-6BA0E9FF5C79}" dt="2023-12-06T10:52:04.425" v="3511" actId="478"/>
        <pc:sldMkLst>
          <pc:docMk/>
          <pc:sldMk cId="1966984107" sldId="3041"/>
        </pc:sldMkLst>
        <pc:spChg chg="add del mod ord">
          <ac:chgData name="Carlos Deghi" userId="a6d5b842-f429-4d48-b81f-4727776bba98" providerId="ADAL" clId="{66C837D4-09E8-4709-BB50-6BA0E9FF5C79}" dt="2023-12-06T10:52:04.425" v="3511" actId="478"/>
          <ac:spMkLst>
            <pc:docMk/>
            <pc:sldMk cId="1966984107" sldId="3041"/>
            <ac:spMk id="2" creationId="{AA13CA71-C667-1266-3BEC-72C48FDB0328}"/>
          </ac:spMkLst>
        </pc:spChg>
        <pc:spChg chg="del">
          <ac:chgData name="Carlos Deghi" userId="a6d5b842-f429-4d48-b81f-4727776bba98" providerId="ADAL" clId="{66C837D4-09E8-4709-BB50-6BA0E9FF5C79}" dt="2023-12-04T10:18:57.421" v="1101" actId="478"/>
          <ac:spMkLst>
            <pc:docMk/>
            <pc:sldMk cId="1966984107" sldId="3041"/>
            <ac:spMk id="2" creationId="{D7D5B37F-16D5-6FF8-695E-4B4105FF89CB}"/>
          </ac:spMkLst>
        </pc:spChg>
        <pc:spChg chg="del">
          <ac:chgData name="Carlos Deghi" userId="a6d5b842-f429-4d48-b81f-4727776bba98" providerId="ADAL" clId="{66C837D4-09E8-4709-BB50-6BA0E9FF5C79}" dt="2023-12-04T10:12:20.164" v="829" actId="478"/>
          <ac:spMkLst>
            <pc:docMk/>
            <pc:sldMk cId="1966984107" sldId="3041"/>
            <ac:spMk id="4" creationId="{7CA0C2DF-A4D5-24F9-29B7-8876FEECC426}"/>
          </ac:spMkLst>
        </pc:spChg>
        <pc:spChg chg="del">
          <ac:chgData name="Carlos Deghi" userId="a6d5b842-f429-4d48-b81f-4727776bba98" providerId="ADAL" clId="{66C837D4-09E8-4709-BB50-6BA0E9FF5C79}" dt="2023-12-04T10:12:17.606" v="828" actId="478"/>
          <ac:spMkLst>
            <pc:docMk/>
            <pc:sldMk cId="1966984107" sldId="3041"/>
            <ac:spMk id="5" creationId="{2EADDCF9-6872-57FD-6F8F-449B376106D5}"/>
          </ac:spMkLst>
        </pc:spChg>
        <pc:spChg chg="del">
          <ac:chgData name="Carlos Deghi" userId="a6d5b842-f429-4d48-b81f-4727776bba98" providerId="ADAL" clId="{66C837D4-09E8-4709-BB50-6BA0E9FF5C79}" dt="2023-12-04T10:10:19.139" v="800" actId="478"/>
          <ac:spMkLst>
            <pc:docMk/>
            <pc:sldMk cId="1966984107" sldId="3041"/>
            <ac:spMk id="6" creationId="{D72680EF-AF54-9BFA-7DE6-8D5F68E42730}"/>
          </ac:spMkLst>
        </pc:spChg>
        <pc:spChg chg="mod ord">
          <ac:chgData name="Carlos Deghi" userId="a6d5b842-f429-4d48-b81f-4727776bba98" providerId="ADAL" clId="{66C837D4-09E8-4709-BB50-6BA0E9FF5C79}" dt="2023-12-06T10:52:01.696" v="3510" actId="700"/>
          <ac:spMkLst>
            <pc:docMk/>
            <pc:sldMk cId="1966984107" sldId="3041"/>
            <ac:spMk id="9" creationId="{9920B200-4893-B28F-8D58-64DB3776FFBE}"/>
          </ac:spMkLst>
        </pc:spChg>
        <pc:spChg chg="mod">
          <ac:chgData name="Carlos Deghi" userId="a6d5b842-f429-4d48-b81f-4727776bba98" providerId="ADAL" clId="{66C837D4-09E8-4709-BB50-6BA0E9FF5C79}" dt="2023-12-04T10:14:36.843" v="872"/>
          <ac:spMkLst>
            <pc:docMk/>
            <pc:sldMk cId="1966984107" sldId="3041"/>
            <ac:spMk id="17" creationId="{BF79FA99-3C16-F6A7-46B6-DC1A138E868A}"/>
          </ac:spMkLst>
        </pc:spChg>
        <pc:spChg chg="mod">
          <ac:chgData name="Carlos Deghi" userId="a6d5b842-f429-4d48-b81f-4727776bba98" providerId="ADAL" clId="{66C837D4-09E8-4709-BB50-6BA0E9FF5C79}" dt="2023-12-04T10:14:36.843" v="872"/>
          <ac:spMkLst>
            <pc:docMk/>
            <pc:sldMk cId="1966984107" sldId="3041"/>
            <ac:spMk id="18" creationId="{B3A20EF0-4C21-1C7F-49F3-4F8A62CC3D29}"/>
          </ac:spMkLst>
        </pc:spChg>
        <pc:spChg chg="mod">
          <ac:chgData name="Carlos Deghi" userId="a6d5b842-f429-4d48-b81f-4727776bba98" providerId="ADAL" clId="{66C837D4-09E8-4709-BB50-6BA0E9FF5C79}" dt="2023-12-04T10:14:36.843" v="872"/>
          <ac:spMkLst>
            <pc:docMk/>
            <pc:sldMk cId="1966984107" sldId="3041"/>
            <ac:spMk id="19" creationId="{961171A9-0A53-01B1-D87C-016D7F111971}"/>
          </ac:spMkLst>
        </pc:spChg>
        <pc:spChg chg="add mod ord">
          <ac:chgData name="Carlos Deghi" userId="a6d5b842-f429-4d48-b81f-4727776bba98" providerId="ADAL" clId="{66C837D4-09E8-4709-BB50-6BA0E9FF5C79}" dt="2023-12-04T10:19:09.779" v="1103" actId="167"/>
          <ac:spMkLst>
            <pc:docMk/>
            <pc:sldMk cId="1966984107" sldId="3041"/>
            <ac:spMk id="20" creationId="{C1E76814-80E6-4D9B-F06B-68F551D1B1D5}"/>
          </ac:spMkLst>
        </pc:spChg>
        <pc:spChg chg="mod">
          <ac:chgData name="Carlos Deghi" userId="a6d5b842-f429-4d48-b81f-4727776bba98" providerId="ADAL" clId="{66C837D4-09E8-4709-BB50-6BA0E9FF5C79}" dt="2023-12-04T10:11:27.444" v="824" actId="14100"/>
          <ac:spMkLst>
            <pc:docMk/>
            <pc:sldMk cId="1966984107" sldId="3041"/>
            <ac:spMk id="72" creationId="{2F179C42-6A6A-2FF8-C72F-1DBA82AE0923}"/>
          </ac:spMkLst>
        </pc:spChg>
        <pc:grpChg chg="add mod ord">
          <ac:chgData name="Carlos Deghi" userId="a6d5b842-f429-4d48-b81f-4727776bba98" providerId="ADAL" clId="{66C837D4-09E8-4709-BB50-6BA0E9FF5C79}" dt="2023-12-04T10:15:12.024" v="945" actId="167"/>
          <ac:grpSpMkLst>
            <pc:docMk/>
            <pc:sldMk cId="1966984107" sldId="3041"/>
            <ac:grpSpMk id="16" creationId="{CAE0C69E-3E60-C985-FD76-581BBF21A66E}"/>
          </ac:grpSpMkLst>
        </pc:grpChg>
        <pc:grpChg chg="del mod">
          <ac:chgData name="Carlos Deghi" userId="a6d5b842-f429-4d48-b81f-4727776bba98" providerId="ADAL" clId="{66C837D4-09E8-4709-BB50-6BA0E9FF5C79}" dt="2023-12-04T10:14:57.909" v="943" actId="478"/>
          <ac:grpSpMkLst>
            <pc:docMk/>
            <pc:sldMk cId="1966984107" sldId="3041"/>
            <ac:grpSpMk id="70" creationId="{FC8E25BA-373E-DE07-71B8-1255031CE513}"/>
          </ac:grpSpMkLst>
        </pc:grpChg>
        <pc:graphicFrameChg chg="add mod ord modGraphic">
          <ac:chgData name="Carlos Deghi" userId="a6d5b842-f429-4d48-b81f-4727776bba98" providerId="ADAL" clId="{66C837D4-09E8-4709-BB50-6BA0E9FF5C79}" dt="2023-12-04T10:20:16.018" v="1183" actId="14100"/>
          <ac:graphicFrameMkLst>
            <pc:docMk/>
            <pc:sldMk cId="1966984107" sldId="3041"/>
            <ac:graphicFrameMk id="15" creationId="{1973EDF6-FD4C-B35A-A1B2-D1F67D44DDAA}"/>
          </ac:graphicFrameMkLst>
        </pc:graphicFrameChg>
        <pc:graphicFrameChg chg="mod modGraphic">
          <ac:chgData name="Carlos Deghi" userId="a6d5b842-f429-4d48-b81f-4727776bba98" providerId="ADAL" clId="{66C837D4-09E8-4709-BB50-6BA0E9FF5C79}" dt="2023-12-04T10:39:10.088" v="1555" actId="790"/>
          <ac:graphicFrameMkLst>
            <pc:docMk/>
            <pc:sldMk cId="1966984107" sldId="3041"/>
            <ac:graphicFrameMk id="43" creationId="{AC38E1DA-8CF7-744B-8E3B-85320FC8B541}"/>
          </ac:graphicFrameMkLst>
        </pc:graphicFrameChg>
      </pc:sldChg>
      <pc:sldChg chg="modSp">
        <pc:chgData name="Carlos Deghi" userId="a6d5b842-f429-4d48-b81f-4727776bba98" providerId="ADAL" clId="{66C837D4-09E8-4709-BB50-6BA0E9FF5C79}" dt="2023-12-04T11:23:02.589" v="3106"/>
        <pc:sldMkLst>
          <pc:docMk/>
          <pc:sldMk cId="849654393" sldId="3042"/>
        </pc:sldMkLst>
        <pc:picChg chg="mod">
          <ac:chgData name="Carlos Deghi" userId="a6d5b842-f429-4d48-b81f-4727776bba98" providerId="ADAL" clId="{66C837D4-09E8-4709-BB50-6BA0E9FF5C79}" dt="2023-12-04T11:23:02.589" v="3106"/>
          <ac:picMkLst>
            <pc:docMk/>
            <pc:sldMk cId="849654393" sldId="3042"/>
            <ac:picMk id="3" creationId="{D11D1B40-9974-3F95-6DC8-D31566A9B087}"/>
          </ac:picMkLst>
        </pc:picChg>
      </pc:sldChg>
      <pc:sldChg chg="addSp delSp modSp mod">
        <pc:chgData name="Carlos Deghi" userId="a6d5b842-f429-4d48-b81f-4727776bba98" providerId="ADAL" clId="{66C837D4-09E8-4709-BB50-6BA0E9FF5C79}" dt="2023-12-04T11:21:42.934" v="3105" actId="5793"/>
        <pc:sldMkLst>
          <pc:docMk/>
          <pc:sldMk cId="475996646" sldId="3044"/>
        </pc:sldMkLst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" creationId="{169EB528-DD2D-716B-D21C-0D4DF6E55C12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" creationId="{8E083480-C28B-E039-7F34-CED272FF29B0}"/>
          </ac:spMkLst>
        </pc:spChg>
        <pc:spChg chg="mod">
          <ac:chgData name="Carlos Deghi" userId="a6d5b842-f429-4d48-b81f-4727776bba98" providerId="ADAL" clId="{66C837D4-09E8-4709-BB50-6BA0E9FF5C79}" dt="2023-12-04T11:21:42.934" v="3105" actId="5793"/>
          <ac:spMkLst>
            <pc:docMk/>
            <pc:sldMk cId="475996646" sldId="3044"/>
            <ac:spMk id="5" creationId="{691BD817-ED31-4962-832B-1254437B69A3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6" creationId="{531CED80-07AB-7BB5-5105-8D7CD59569B8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7" creationId="{0FE6422C-D5DA-078B-7839-18D796D471DE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8" creationId="{BA7D5F1B-049A-B39E-4A79-B8B9B2348B2B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9" creationId="{C0E8803D-954A-9A56-FCC7-E2FDF39C6892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10" creationId="{08839F8A-3B06-F5A2-E490-B5340DD8F3DA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11" creationId="{1418DF7C-3B82-C03D-7054-63FC1C54F1E1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16" creationId="{C40506FA-A85A-81C7-519C-679D5ECAE17B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17" creationId="{D0F0D0E5-DCFD-87BB-4B80-859A84C273F7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19" creationId="{ADACC633-0014-0C0E-BB1F-890747DE55DE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21" creationId="{ED50D112-5D65-E1A2-B250-21EF28F090BD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22" creationId="{49A19922-C784-72B2-2CA7-D6EE23B85FE8}"/>
          </ac:spMkLst>
        </pc:spChg>
        <pc:spChg chg="del">
          <ac:chgData name="Carlos Deghi" userId="a6d5b842-f429-4d48-b81f-4727776bba98" providerId="ADAL" clId="{66C837D4-09E8-4709-BB50-6BA0E9FF5C79}" dt="2023-12-04T07:56:26.004" v="171" actId="478"/>
          <ac:spMkLst>
            <pc:docMk/>
            <pc:sldMk cId="475996646" sldId="3044"/>
            <ac:spMk id="23" creationId="{261CDE78-461C-D1C4-8D2E-6A76AAE67C69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4" creationId="{BBA6F375-8BD2-8D64-3C8B-118C2496D306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5" creationId="{FC4E07B7-81AC-D9AA-AF5B-A38E7BD575F8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6" creationId="{C1C0BF94-BE21-2753-6353-37B79CA5672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7" creationId="{2BDDDDBC-8A65-38ED-736D-524E36C47C7E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8" creationId="{BF462DEE-3102-EAE5-0D69-C39818FA7B73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29" creationId="{076F93AC-0FFD-039C-44C1-8A744DC93C2E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0" creationId="{85F1DF17-01AD-6656-B0A5-847A060D1328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1" creationId="{D30AE81A-9B84-81C8-4C5A-8FDDEDD4CE78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2" creationId="{B7944A53-5380-F7CC-1167-B25B84C8EA84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3" creationId="{2C5EC75C-46A6-58FD-6D6F-AA3766CB1BD8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4" creationId="{616ABB08-D61F-89D7-27C3-457DD7698D3B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5" creationId="{B712C902-FE7B-3D37-1A4C-75C7A9CDC606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6" creationId="{9150E713-C2E1-718D-49F4-7DB670BD12F5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7" creationId="{1A884CAD-2792-45C5-002E-7B840B319449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8" creationId="{9194A587-5679-9972-B324-F456FAC4E63F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39" creationId="{8F86E897-41C5-1CBE-58EA-4FCC565B1DFE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0" creationId="{71D34373-7310-6212-C383-72FD079FAAA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1" creationId="{AAFEE6EE-4BCD-2C87-F583-CF1ECE5AE6C6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2" creationId="{72CC152A-4791-C278-D8C8-B51B6366CD2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3" creationId="{8FB58C39-CC06-CC0D-79CD-CD5E6FD9101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4" creationId="{DA532FD6-57F3-67EB-3454-0ECF6CECEFE8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5" creationId="{0EFAB9D8-C104-BD73-52EE-BB0E87BB0A0D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6" creationId="{DC8790A6-E9D4-0D73-73A1-4F8578C4956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7" creationId="{64420DA3-9E4C-C128-8681-8A78E73B8112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8" creationId="{DC5A398D-BD9A-CE32-4DBD-3EF38A2E63D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49" creationId="{5E6AF968-376E-1FD2-4C68-D715A81AD17A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0" creationId="{EC78DB3A-EF57-54B2-D3B3-C913A64EBC0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1" creationId="{9289AC65-2F5B-B97E-A58E-41A4E28F19F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2" creationId="{D01ED474-1ACD-7E47-EB6D-327AF8AC0A3A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3" creationId="{76AFA03B-A132-4FE2-E15D-D3679CE86D91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4" creationId="{3DD9C6D1-F8F7-667F-D3A0-CBF534B0A3C4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5" creationId="{35CCC0FC-219D-B182-74B6-93A0563F135C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6" creationId="{C44C6ADA-49C6-7086-AEC5-1B8ADA0C9725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7" creationId="{172A4ABB-05C4-11ED-7433-4D5F1FDC0E7C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8" creationId="{541FE0C3-9ECE-FFA2-2CFE-BEAE2074FCB7}"/>
          </ac:spMkLst>
        </pc:spChg>
        <pc:spChg chg="add mod">
          <ac:chgData name="Carlos Deghi" userId="a6d5b842-f429-4d48-b81f-4727776bba98" providerId="ADAL" clId="{66C837D4-09E8-4709-BB50-6BA0E9FF5C79}" dt="2023-12-04T07:56:39.792" v="172"/>
          <ac:spMkLst>
            <pc:docMk/>
            <pc:sldMk cId="475996646" sldId="3044"/>
            <ac:spMk id="59" creationId="{260BCFD0-9192-223B-1C71-2C90C0081799}"/>
          </ac:spMkLst>
        </pc:sp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2" creationId="{9A80B482-E468-E461-2437-6D2AC1BA90B7}"/>
          </ac:picMkLst>
        </pc:pic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12" creationId="{EB69149D-7923-2C96-5538-4F6ADAB8D4E8}"/>
          </ac:picMkLst>
        </pc:pic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13" creationId="{F746B53E-CCA5-1167-CB02-A393BDA08631}"/>
          </ac:picMkLst>
        </pc:pic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14" creationId="{5251B065-E65F-1173-09DE-AC34ECCE23AF}"/>
          </ac:picMkLst>
        </pc:pic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15" creationId="{72600462-8C07-9BC3-BED1-EB4DA7AA8F7A}"/>
          </ac:picMkLst>
        </pc:picChg>
        <pc:picChg chg="del">
          <ac:chgData name="Carlos Deghi" userId="a6d5b842-f429-4d48-b81f-4727776bba98" providerId="ADAL" clId="{66C837D4-09E8-4709-BB50-6BA0E9FF5C79}" dt="2023-12-04T07:56:26.004" v="171" actId="478"/>
          <ac:picMkLst>
            <pc:docMk/>
            <pc:sldMk cId="475996646" sldId="3044"/>
            <ac:picMk id="20" creationId="{37A47B8A-5AC1-D044-3B83-27BB9D3B8D45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0" creationId="{3A83B0F9-80F4-C75A-3649-63AF48E350C6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1" creationId="{4CD4A005-BD6F-F16F-61C2-F6E0F986799C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2" creationId="{94AFC2D2-F42A-99E8-EFC3-0001C1AFE2E4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3" creationId="{0DDD9E0A-D9FB-6563-1E54-47F9819139C4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4" creationId="{E2C45F91-E942-BC3A-2BF8-0E3EBFF18DD3}"/>
          </ac:picMkLst>
        </pc:picChg>
        <pc:picChg chg="add mod">
          <ac:chgData name="Carlos Deghi" userId="a6d5b842-f429-4d48-b81f-4727776bba98" providerId="ADAL" clId="{66C837D4-09E8-4709-BB50-6BA0E9FF5C79}" dt="2023-12-04T07:56:39.792" v="172"/>
          <ac:picMkLst>
            <pc:docMk/>
            <pc:sldMk cId="475996646" sldId="3044"/>
            <ac:picMk id="65" creationId="{A943D07D-6E03-53D9-7530-617DFC8B99DA}"/>
          </ac:picMkLst>
        </pc:picChg>
      </pc:sldChg>
      <pc:sldChg chg="ord">
        <pc:chgData name="Carlos Deghi" userId="a6d5b842-f429-4d48-b81f-4727776bba98" providerId="ADAL" clId="{66C837D4-09E8-4709-BB50-6BA0E9FF5C79}" dt="2023-12-04T12:44:50.927" v="3352"/>
        <pc:sldMkLst>
          <pc:docMk/>
          <pc:sldMk cId="2220478638" sldId="3045"/>
        </pc:sldMkLst>
      </pc:sldChg>
      <pc:sldChg chg="addSp delSp modSp new mod ord">
        <pc:chgData name="Carlos Deghi" userId="a6d5b842-f429-4d48-b81f-4727776bba98" providerId="ADAL" clId="{66C837D4-09E8-4709-BB50-6BA0E9FF5C79}" dt="2023-12-04T12:21:41.278" v="3279" actId="790"/>
        <pc:sldMkLst>
          <pc:docMk/>
          <pc:sldMk cId="3233488312" sldId="3046"/>
        </pc:sldMkLst>
        <pc:spChg chg="del">
          <ac:chgData name="Carlos Deghi" userId="a6d5b842-f429-4d48-b81f-4727776bba98" providerId="ADAL" clId="{66C837D4-09E8-4709-BB50-6BA0E9FF5C79}" dt="2023-12-04T12:06:13.033" v="3141" actId="478"/>
          <ac:spMkLst>
            <pc:docMk/>
            <pc:sldMk cId="3233488312" sldId="3046"/>
            <ac:spMk id="2" creationId="{1729457C-9425-5350-C587-05CC0EC8E273}"/>
          </ac:spMkLst>
        </pc:spChg>
        <pc:spChg chg="mod">
          <ac:chgData name="Carlos Deghi" userId="a6d5b842-f429-4d48-b81f-4727776bba98" providerId="ADAL" clId="{66C837D4-09E8-4709-BB50-6BA0E9FF5C79}" dt="2023-12-04T12:19:08.523" v="3278" actId="20577"/>
          <ac:spMkLst>
            <pc:docMk/>
            <pc:sldMk cId="3233488312" sldId="3046"/>
            <ac:spMk id="3" creationId="{E6447E6E-CD80-E101-62C8-8C6651B61516}"/>
          </ac:spMkLst>
        </pc:spChg>
        <pc:spChg chg="add 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6" creationId="{5240D2B7-E9EA-C12A-89F9-7DB37CFDE9CA}"/>
          </ac:spMkLst>
        </pc:spChg>
        <pc:spChg chg="add 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7" creationId="{6226FC72-90AF-AD04-DC3F-DA7467D37F00}"/>
          </ac:spMkLst>
        </pc:spChg>
        <pc:spChg chg="add 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9" creationId="{D00239DD-EC33-CDB1-1EF8-83D1473B6FC1}"/>
          </ac:spMkLst>
        </pc:spChg>
        <pc:spChg chg="add del mod">
          <ac:chgData name="Carlos Deghi" userId="a6d5b842-f429-4d48-b81f-4727776bba98" providerId="ADAL" clId="{66C837D4-09E8-4709-BB50-6BA0E9FF5C79}" dt="2023-12-04T12:06:34.911" v="3144" actId="478"/>
          <ac:spMkLst>
            <pc:docMk/>
            <pc:sldMk cId="3233488312" sldId="3046"/>
            <ac:spMk id="11" creationId="{2CC2E33A-2CEF-80A7-EBE7-A97698E4D508}"/>
          </ac:spMkLst>
        </pc:spChg>
        <pc:spChg chg="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15" creationId="{711FF187-D697-7DF8-7184-C9D86F0CC904}"/>
          </ac:spMkLst>
        </pc:spChg>
        <pc:spChg chg="add mod">
          <ac:chgData name="Carlos Deghi" userId="a6d5b842-f429-4d48-b81f-4727776bba98" providerId="ADAL" clId="{66C837D4-09E8-4709-BB50-6BA0E9FF5C79}" dt="2023-12-04T12:21:41.278" v="3279" actId="790"/>
          <ac:spMkLst>
            <pc:docMk/>
            <pc:sldMk cId="3233488312" sldId="3046"/>
            <ac:spMk id="17" creationId="{110CF3FA-DC58-86AB-CED4-08C07027EE32}"/>
          </ac:spMkLst>
        </pc:spChg>
        <pc:spChg chg="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21" creationId="{90FAE773-AB64-DF98-ECEA-97075A7ACF1E}"/>
          </ac:spMkLst>
        </pc:spChg>
        <pc:spChg chg="add mod">
          <ac:chgData name="Carlos Deghi" userId="a6d5b842-f429-4d48-b81f-4727776bba98" providerId="ADAL" clId="{66C837D4-09E8-4709-BB50-6BA0E9FF5C79}" dt="2023-12-04T12:21:41.278" v="3279" actId="790"/>
          <ac:spMkLst>
            <pc:docMk/>
            <pc:sldMk cId="3233488312" sldId="3046"/>
            <ac:spMk id="23" creationId="{8F9363A4-EB45-DB32-12E6-EA447F9CB2C3}"/>
          </ac:spMkLst>
        </pc:spChg>
        <pc:spChg chg="add mod">
          <ac:chgData name="Carlos Deghi" userId="a6d5b842-f429-4d48-b81f-4727776bba98" providerId="ADAL" clId="{66C837D4-09E8-4709-BB50-6BA0E9FF5C79}" dt="2023-12-04T12:21:41.278" v="3279" actId="790"/>
          <ac:spMkLst>
            <pc:docMk/>
            <pc:sldMk cId="3233488312" sldId="3046"/>
            <ac:spMk id="25" creationId="{C86ADC30-5EC7-5560-5C7D-6AE4185AE811}"/>
          </ac:spMkLst>
        </pc:spChg>
        <pc:spChg chg="add 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30" creationId="{A26DA0CE-F03E-7FB0-7532-C51F8BF7F06D}"/>
          </ac:spMkLst>
        </pc:spChg>
        <pc:spChg chg="add mod">
          <ac:chgData name="Carlos Deghi" userId="a6d5b842-f429-4d48-b81f-4727776bba98" providerId="ADAL" clId="{66C837D4-09E8-4709-BB50-6BA0E9FF5C79}" dt="2023-12-04T12:21:41.278" v="3279" actId="790"/>
          <ac:spMkLst>
            <pc:docMk/>
            <pc:sldMk cId="3233488312" sldId="3046"/>
            <ac:spMk id="31" creationId="{C5019998-9BC6-2839-B21B-1AE62A44AD89}"/>
          </ac:spMkLst>
        </pc:spChg>
        <pc:spChg chg="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35" creationId="{3609C85B-252B-B096-A353-5DF89DB297B9}"/>
          </ac:spMkLst>
        </pc:spChg>
        <pc:spChg chg="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40" creationId="{0D117CC2-AB95-C47B-9AC1-7B8F672E3601}"/>
          </ac:spMkLst>
        </pc:spChg>
        <pc:spChg chg="mod">
          <ac:chgData name="Carlos Deghi" userId="a6d5b842-f429-4d48-b81f-4727776bba98" providerId="ADAL" clId="{66C837D4-09E8-4709-BB50-6BA0E9FF5C79}" dt="2023-12-04T12:05:42.231" v="3139"/>
          <ac:spMkLst>
            <pc:docMk/>
            <pc:sldMk cId="3233488312" sldId="3046"/>
            <ac:spMk id="45" creationId="{BF7DDBDB-EC91-5C48-C05F-F3F4AC536C92}"/>
          </ac:spMkLst>
        </pc:spChg>
        <pc:grpChg chg="add del mod">
          <ac:chgData name="Carlos Deghi" userId="a6d5b842-f429-4d48-b81f-4727776bba98" providerId="ADAL" clId="{66C837D4-09E8-4709-BB50-6BA0E9FF5C79}" dt="2023-12-04T12:06:32.841" v="3143" actId="478"/>
          <ac:grpSpMkLst>
            <pc:docMk/>
            <pc:sldMk cId="3233488312" sldId="3046"/>
            <ac:grpSpMk id="12" creationId="{7D9E9D32-7946-E8B3-F982-8BE7B23891DB}"/>
          </ac:grpSpMkLst>
        </pc:grpChg>
        <pc:grpChg chg="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13" creationId="{2842B0D6-6F8B-26DD-5BE3-6362EA4E286F}"/>
          </ac:grpSpMkLst>
        </pc:grpChg>
        <pc:grpChg chg="add mod">
          <ac:chgData name="Carlos Deghi" userId="a6d5b842-f429-4d48-b81f-4727776bba98" providerId="ADAL" clId="{66C837D4-09E8-4709-BB50-6BA0E9FF5C79}" dt="2023-12-04T12:07:02.835" v="3199" actId="1037"/>
          <ac:grpSpMkLst>
            <pc:docMk/>
            <pc:sldMk cId="3233488312" sldId="3046"/>
            <ac:grpSpMk id="18" creationId="{513AEDAA-527B-9871-B891-1234A634BCA1}"/>
          </ac:grpSpMkLst>
        </pc:grpChg>
        <pc:grpChg chg="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19" creationId="{7AE8C1E9-0AB0-2ED0-DF84-D114BE86CE39}"/>
          </ac:grpSpMkLst>
        </pc:grpChg>
        <pc:grpChg chg="add mod">
          <ac:chgData name="Carlos Deghi" userId="a6d5b842-f429-4d48-b81f-4727776bba98" providerId="ADAL" clId="{66C837D4-09E8-4709-BB50-6BA0E9FF5C79}" dt="2023-12-04T12:07:24.061" v="3200" actId="408"/>
          <ac:grpSpMkLst>
            <pc:docMk/>
            <pc:sldMk cId="3233488312" sldId="3046"/>
            <ac:grpSpMk id="32" creationId="{12FA4C21-4DEE-CB78-3659-4449DD4092EF}"/>
          </ac:grpSpMkLst>
        </pc:grpChg>
        <pc:grpChg chg="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33" creationId="{B85AFFC3-8521-67B4-5CB3-81DBF047E9FC}"/>
          </ac:grpSpMkLst>
        </pc:grpChg>
        <pc:grpChg chg="add mod">
          <ac:chgData name="Carlos Deghi" userId="a6d5b842-f429-4d48-b81f-4727776bba98" providerId="ADAL" clId="{66C837D4-09E8-4709-BB50-6BA0E9FF5C79}" dt="2023-12-04T12:07:24.061" v="3200" actId="408"/>
          <ac:grpSpMkLst>
            <pc:docMk/>
            <pc:sldMk cId="3233488312" sldId="3046"/>
            <ac:grpSpMk id="37" creationId="{5FA63C00-4DE8-C825-72BB-5DA2D75290E6}"/>
          </ac:grpSpMkLst>
        </pc:grpChg>
        <pc:grpChg chg="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38" creationId="{C7223EB4-C604-D43D-DCC0-EF82FC25856D}"/>
          </ac:grpSpMkLst>
        </pc:grpChg>
        <pc:grpChg chg="add 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42" creationId="{E4B5B4D8-CE3B-5706-C56D-5D8CAE7F31E4}"/>
          </ac:grpSpMkLst>
        </pc:grpChg>
        <pc:grpChg chg="mod">
          <ac:chgData name="Carlos Deghi" userId="a6d5b842-f429-4d48-b81f-4727776bba98" providerId="ADAL" clId="{66C837D4-09E8-4709-BB50-6BA0E9FF5C79}" dt="2023-12-04T12:05:42.231" v="3139"/>
          <ac:grpSpMkLst>
            <pc:docMk/>
            <pc:sldMk cId="3233488312" sldId="3046"/>
            <ac:grpSpMk id="43" creationId="{9508F829-9F56-B191-999D-701AF31ACB8B}"/>
          </ac:grpSpMkLst>
        </pc:grp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4" creationId="{813052E5-DB0A-61D4-2C6B-E5C37618EDCB}"/>
          </ac:picMkLst>
        </pc:picChg>
        <pc:picChg chg="mod">
          <ac:chgData name="Carlos Deghi" userId="a6d5b842-f429-4d48-b81f-4727776bba98" providerId="ADAL" clId="{66C837D4-09E8-4709-BB50-6BA0E9FF5C79}" dt="2023-12-04T12:05:42.231" v="3139"/>
          <ac:picMkLst>
            <pc:docMk/>
            <pc:sldMk cId="3233488312" sldId="3046"/>
            <ac:picMk id="14" creationId="{013F0A8D-8806-5FB0-21C3-B9745E893EEE}"/>
          </ac:picMkLst>
        </pc:picChg>
        <pc:picChg chg="mod">
          <ac:chgData name="Carlos Deghi" userId="a6d5b842-f429-4d48-b81f-4727776bba98" providerId="ADAL" clId="{66C837D4-09E8-4709-BB50-6BA0E9FF5C79}" dt="2023-12-04T12:05:42.231" v="3139"/>
          <ac:picMkLst>
            <pc:docMk/>
            <pc:sldMk cId="3233488312" sldId="3046"/>
            <ac:picMk id="20" creationId="{0A6C685B-4CEE-29A7-6FF1-5D0D2EA5B8F7}"/>
          </ac:picMkLst>
        </pc:pic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26" creationId="{BC01CEA2-7AFE-78FC-31C1-DF3A6BA2F2BA}"/>
          </ac:picMkLst>
        </pc:pic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27" creationId="{F4112E0F-40E3-1EA6-AA56-21AE3D218864}"/>
          </ac:picMkLst>
        </pc:pic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28" creationId="{C2A4FA15-29A6-31C4-DA9E-03C64FBBA8A4}"/>
          </ac:picMkLst>
        </pc:pic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29" creationId="{32BC71E0-9E7F-E40E-DCB3-7CB562998074}"/>
          </ac:picMkLst>
        </pc:picChg>
        <pc:picChg chg="mod">
          <ac:chgData name="Carlos Deghi" userId="a6d5b842-f429-4d48-b81f-4727776bba98" providerId="ADAL" clId="{66C837D4-09E8-4709-BB50-6BA0E9FF5C79}" dt="2023-12-04T12:05:42.231" v="3139"/>
          <ac:picMkLst>
            <pc:docMk/>
            <pc:sldMk cId="3233488312" sldId="3046"/>
            <ac:picMk id="34" creationId="{24DA0D87-2214-6523-E6C3-D31C66EC6E81}"/>
          </ac:picMkLst>
        </pc:picChg>
        <pc:picChg chg="mod">
          <ac:chgData name="Carlos Deghi" userId="a6d5b842-f429-4d48-b81f-4727776bba98" providerId="ADAL" clId="{66C837D4-09E8-4709-BB50-6BA0E9FF5C79}" dt="2023-12-04T12:05:42.231" v="3139"/>
          <ac:picMkLst>
            <pc:docMk/>
            <pc:sldMk cId="3233488312" sldId="3046"/>
            <ac:picMk id="39" creationId="{3D47C88F-AA6B-A6D7-2ABE-E63FACB17C42}"/>
          </ac:picMkLst>
        </pc:picChg>
        <pc:picChg chg="mod">
          <ac:chgData name="Carlos Deghi" userId="a6d5b842-f429-4d48-b81f-4727776bba98" providerId="ADAL" clId="{66C837D4-09E8-4709-BB50-6BA0E9FF5C79}" dt="2023-12-04T12:05:42.231" v="3139"/>
          <ac:picMkLst>
            <pc:docMk/>
            <pc:sldMk cId="3233488312" sldId="3046"/>
            <ac:picMk id="44" creationId="{96A6FAF0-54F9-C8D3-55D0-F1562F3183EA}"/>
          </ac:picMkLst>
        </pc:picChg>
        <pc:picChg chg="add del mod">
          <ac:chgData name="Carlos Deghi" userId="a6d5b842-f429-4d48-b81f-4727776bba98" providerId="ADAL" clId="{66C837D4-09E8-4709-BB50-6BA0E9FF5C79}" dt="2023-12-04T12:06:22.655" v="3142" actId="478"/>
          <ac:picMkLst>
            <pc:docMk/>
            <pc:sldMk cId="3233488312" sldId="3046"/>
            <ac:picMk id="47" creationId="{FF4F33E8-7AFB-0297-B68B-66F6DC2B449C}"/>
          </ac:picMkLst>
        </pc:picChg>
        <pc:picChg chg="add mod">
          <ac:chgData name="Carlos Deghi" userId="a6d5b842-f429-4d48-b81f-4727776bba98" providerId="ADAL" clId="{66C837D4-09E8-4709-BB50-6BA0E9FF5C79}" dt="2023-12-04T12:08:32.021" v="3205" actId="1076"/>
          <ac:picMkLst>
            <pc:docMk/>
            <pc:sldMk cId="3233488312" sldId="3046"/>
            <ac:picMk id="48" creationId="{6A5A0364-9180-FDEB-8F81-C22021FC2AF8}"/>
          </ac:picMkLst>
        </pc:picChg>
        <pc:picChg chg="add mod">
          <ac:chgData name="Carlos Deghi" userId="a6d5b842-f429-4d48-b81f-4727776bba98" providerId="ADAL" clId="{66C837D4-09E8-4709-BB50-6BA0E9FF5C79}" dt="2023-12-04T12:09:11.026" v="3208" actId="14100"/>
          <ac:picMkLst>
            <pc:docMk/>
            <pc:sldMk cId="3233488312" sldId="3046"/>
            <ac:picMk id="49" creationId="{DF896FF1-D714-B2D0-DD53-EA33319AADAA}"/>
          </ac:picMkLst>
        </pc:picChg>
        <pc:picChg chg="add mod">
          <ac:chgData name="Carlos Deghi" userId="a6d5b842-f429-4d48-b81f-4727776bba98" providerId="ADAL" clId="{66C837D4-09E8-4709-BB50-6BA0E9FF5C79}" dt="2023-12-04T12:10:28.256" v="3216" actId="1076"/>
          <ac:picMkLst>
            <pc:docMk/>
            <pc:sldMk cId="3233488312" sldId="3046"/>
            <ac:picMk id="50" creationId="{A5E985F9-FBA1-5830-C830-86D64C1F7FEB}"/>
          </ac:picMkLst>
        </pc:picChg>
        <pc:picChg chg="add mod">
          <ac:chgData name="Carlos Deghi" userId="a6d5b842-f429-4d48-b81f-4727776bba98" providerId="ADAL" clId="{66C837D4-09E8-4709-BB50-6BA0E9FF5C79}" dt="2023-12-04T12:11:05.430" v="3220" actId="1076"/>
          <ac:picMkLst>
            <pc:docMk/>
            <pc:sldMk cId="3233488312" sldId="3046"/>
            <ac:picMk id="51" creationId="{7C5A7CFB-9FB3-6E73-A5A5-E1CFC59EE82C}"/>
          </ac:picMkLst>
        </pc:picChg>
        <pc:picChg chg="add mod">
          <ac:chgData name="Carlos Deghi" userId="a6d5b842-f429-4d48-b81f-4727776bba98" providerId="ADAL" clId="{66C837D4-09E8-4709-BB50-6BA0E9FF5C79}" dt="2023-12-04T12:11:45.104" v="3223" actId="1076"/>
          <ac:picMkLst>
            <pc:docMk/>
            <pc:sldMk cId="3233488312" sldId="3046"/>
            <ac:picMk id="52" creationId="{06D7367A-6A7A-544E-C9D0-8704F0F8BFDB}"/>
          </ac:picMkLst>
        </pc:picChg>
        <pc:picChg chg="add mod">
          <ac:chgData name="Carlos Deghi" userId="a6d5b842-f429-4d48-b81f-4727776bba98" providerId="ADAL" clId="{66C837D4-09E8-4709-BB50-6BA0E9FF5C79}" dt="2023-12-04T12:12:23.128" v="3228" actId="1076"/>
          <ac:picMkLst>
            <pc:docMk/>
            <pc:sldMk cId="3233488312" sldId="3046"/>
            <ac:picMk id="53" creationId="{C55595CE-749C-6DE8-0C60-B5E3D0841774}"/>
          </ac:picMkLst>
        </pc:picChg>
        <pc:picChg chg="add mod">
          <ac:chgData name="Carlos Deghi" userId="a6d5b842-f429-4d48-b81f-4727776bba98" providerId="ADAL" clId="{66C837D4-09E8-4709-BB50-6BA0E9FF5C79}" dt="2023-12-04T12:13:09.049" v="3231" actId="1076"/>
          <ac:picMkLst>
            <pc:docMk/>
            <pc:sldMk cId="3233488312" sldId="3046"/>
            <ac:picMk id="54" creationId="{D7D7E799-DAC0-9D2B-67DA-5B9CF9284A11}"/>
          </ac:picMkLst>
        </pc:picChg>
        <pc:picChg chg="add mod">
          <ac:chgData name="Carlos Deghi" userId="a6d5b842-f429-4d48-b81f-4727776bba98" providerId="ADAL" clId="{66C837D4-09E8-4709-BB50-6BA0E9FF5C79}" dt="2023-12-04T12:13:34.244" v="3234" actId="1076"/>
          <ac:picMkLst>
            <pc:docMk/>
            <pc:sldMk cId="3233488312" sldId="3046"/>
            <ac:picMk id="55" creationId="{EA76B970-879B-9935-5BAE-00062EE1C297}"/>
          </ac:picMkLst>
        </pc:picChg>
        <pc:picChg chg="add mod">
          <ac:chgData name="Carlos Deghi" userId="a6d5b842-f429-4d48-b81f-4727776bba98" providerId="ADAL" clId="{66C837D4-09E8-4709-BB50-6BA0E9FF5C79}" dt="2023-12-04T12:14:57.491" v="3256" actId="14100"/>
          <ac:picMkLst>
            <pc:docMk/>
            <pc:sldMk cId="3233488312" sldId="3046"/>
            <ac:picMk id="56" creationId="{3301CBEE-C2E5-5FFA-43F4-2DA9B1911058}"/>
          </ac:picMkLst>
        </pc:picChg>
        <pc:picChg chg="add mod">
          <ac:chgData name="Carlos Deghi" userId="a6d5b842-f429-4d48-b81f-4727776bba98" providerId="ADAL" clId="{66C837D4-09E8-4709-BB50-6BA0E9FF5C79}" dt="2023-12-04T12:16:40.457" v="3258"/>
          <ac:picMkLst>
            <pc:docMk/>
            <pc:sldMk cId="3233488312" sldId="3046"/>
            <ac:picMk id="57" creationId="{9BC9F2C9-81EF-9F78-0D8D-612BF2AADE31}"/>
          </ac:picMkLst>
        </pc:picChg>
        <pc:cxnChg chg="add 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5" creationId="{0D3BF3DC-9E18-EF38-DC24-808813FB6D0D}"/>
          </ac:cxnSpMkLst>
        </pc:cxnChg>
        <pc:cxnChg chg="add 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8" creationId="{A332AB0F-9166-046C-A10E-8AB0CDAB2AE8}"/>
          </ac:cxnSpMkLst>
        </pc:cxnChg>
        <pc:cxnChg chg="add 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10" creationId="{9F04CED1-01BE-31AF-A357-BC6AD3E7A342}"/>
          </ac:cxnSpMkLst>
        </pc:cxnChg>
        <pc:cxnChg chg="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16" creationId="{57715677-41A6-270B-CC7A-98ADC065A269}"/>
          </ac:cxnSpMkLst>
        </pc:cxnChg>
        <pc:cxnChg chg="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22" creationId="{C142CDAE-C66B-ADC5-25AA-38789B3B4EA9}"/>
          </ac:cxnSpMkLst>
        </pc:cxnChg>
        <pc:cxnChg chg="add 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24" creationId="{D4219042-2D59-50EA-36EB-C213450E4670}"/>
          </ac:cxnSpMkLst>
        </pc:cxnChg>
        <pc:cxnChg chg="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36" creationId="{B451BB7A-430E-6F59-3BC5-05B0671A4FF0}"/>
          </ac:cxnSpMkLst>
        </pc:cxnChg>
        <pc:cxnChg chg="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41" creationId="{A4BD3328-DBBD-5230-47D8-175510AD1C18}"/>
          </ac:cxnSpMkLst>
        </pc:cxnChg>
        <pc:cxnChg chg="mod">
          <ac:chgData name="Carlos Deghi" userId="a6d5b842-f429-4d48-b81f-4727776bba98" providerId="ADAL" clId="{66C837D4-09E8-4709-BB50-6BA0E9FF5C79}" dt="2023-12-04T12:05:42.231" v="3139"/>
          <ac:cxnSpMkLst>
            <pc:docMk/>
            <pc:sldMk cId="3233488312" sldId="3046"/>
            <ac:cxnSpMk id="46" creationId="{1EB3AB00-8E6A-BB81-0B2A-08EAD88A756E}"/>
          </ac:cxnSpMkLst>
        </pc:cxnChg>
      </pc:sldChg>
      <pc:sldChg chg="addSp delSp modSp new mod ord">
        <pc:chgData name="Carlos Deghi" userId="a6d5b842-f429-4d48-b81f-4727776bba98" providerId="ADAL" clId="{66C837D4-09E8-4709-BB50-6BA0E9FF5C79}" dt="2023-12-04T13:03:06.428" v="3398"/>
        <pc:sldMkLst>
          <pc:docMk/>
          <pc:sldMk cId="2037393113" sldId="3047"/>
        </pc:sldMkLst>
        <pc:spChg chg="del">
          <ac:chgData name="Carlos Deghi" userId="a6d5b842-f429-4d48-b81f-4727776bba98" providerId="ADAL" clId="{66C837D4-09E8-4709-BB50-6BA0E9FF5C79}" dt="2023-12-04T12:25:13.624" v="3282" actId="478"/>
          <ac:spMkLst>
            <pc:docMk/>
            <pc:sldMk cId="2037393113" sldId="3047"/>
            <ac:spMk id="2" creationId="{610A1BFA-BE30-B002-9C56-25CB3A71456D}"/>
          </ac:spMkLst>
        </pc:spChg>
        <pc:spChg chg="mod">
          <ac:chgData name="Carlos Deghi" userId="a6d5b842-f429-4d48-b81f-4727776bba98" providerId="ADAL" clId="{66C837D4-09E8-4709-BB50-6BA0E9FF5C79}" dt="2023-12-04T12:25:30.382" v="3315" actId="20577"/>
          <ac:spMkLst>
            <pc:docMk/>
            <pc:sldMk cId="2037393113" sldId="3047"/>
            <ac:spMk id="3" creationId="{A1BB8DF8-E989-C0D1-103E-E543DBDB91F9}"/>
          </ac:spMkLst>
        </pc:spChg>
        <pc:spChg chg="add del mod">
          <ac:chgData name="Carlos Deghi" userId="a6d5b842-f429-4d48-b81f-4727776bba98" providerId="ADAL" clId="{66C837D4-09E8-4709-BB50-6BA0E9FF5C79}" dt="2023-12-04T12:25:57.873" v="3319" actId="478"/>
          <ac:spMkLst>
            <pc:docMk/>
            <pc:sldMk cId="2037393113" sldId="3047"/>
            <ac:spMk id="4" creationId="{885439A9-B562-7955-1760-C717AF3D6165}"/>
          </ac:spMkLst>
        </pc:spChg>
        <pc:spChg chg="add del mod">
          <ac:chgData name="Carlos Deghi" userId="a6d5b842-f429-4d48-b81f-4727776bba98" providerId="ADAL" clId="{66C837D4-09E8-4709-BB50-6BA0E9FF5C79}" dt="2023-12-04T12:25:55.142" v="3318" actId="478"/>
          <ac:spMkLst>
            <pc:docMk/>
            <pc:sldMk cId="2037393113" sldId="3047"/>
            <ac:spMk id="5" creationId="{05189440-45A0-7093-AC94-5D5C9B083E1E}"/>
          </ac:spMkLst>
        </pc:spChg>
        <pc:spChg chg="add del mod">
          <ac:chgData name="Carlos Deghi" userId="a6d5b842-f429-4d48-b81f-4727776bba98" providerId="ADAL" clId="{66C837D4-09E8-4709-BB50-6BA0E9FF5C79}" dt="2023-12-04T12:25:49.271" v="3316" actId="478"/>
          <ac:spMkLst>
            <pc:docMk/>
            <pc:sldMk cId="2037393113" sldId="3047"/>
            <ac:spMk id="6" creationId="{F7322AE2-1212-B46A-D6DA-4784289B156E}"/>
          </ac:spMkLst>
        </pc:spChg>
        <pc:spChg chg="add del mod">
          <ac:chgData name="Carlos Deghi" userId="a6d5b842-f429-4d48-b81f-4727776bba98" providerId="ADAL" clId="{66C837D4-09E8-4709-BB50-6BA0E9FF5C79}" dt="2023-12-04T12:25:52.219" v="3317" actId="478"/>
          <ac:spMkLst>
            <pc:docMk/>
            <pc:sldMk cId="2037393113" sldId="3047"/>
            <ac:spMk id="7" creationId="{70B2E7A5-0819-AE83-3DA2-908EF6E040B2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8" creationId="{7F77ABBD-EC19-FE85-C357-3C10349FD4D0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9" creationId="{57CB1CF4-C92C-2C69-500A-7C73F3612AF8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10" creationId="{2801F5AF-59A8-F40F-59B8-9144D343F0C6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11" creationId="{52ADD557-C80B-0206-BB4C-387585C0A70F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13" creationId="{96B0ABCA-C66B-2264-241C-B4634D5DEB04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15" creationId="{11A338B3-0F2E-6DD5-D4E3-2018FAD29455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16" creationId="{4C2CA875-F103-7CD5-8622-6616943E9A73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20" creationId="{92E9374B-33ED-D4BC-F357-2F38807DADB9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27" creationId="{BD80F9DC-DE48-DE27-2318-9D8F099FB375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28" creationId="{34D15F86-1917-FF49-8985-2CAD9E6BD507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29" creationId="{E6EC749E-1132-A9AF-8057-80EEA1D31BBC}"/>
          </ac:spMkLst>
        </pc:spChg>
        <pc:spChg chg="add mod">
          <ac:chgData name="Carlos Deghi" userId="a6d5b842-f429-4d48-b81f-4727776bba98" providerId="ADAL" clId="{66C837D4-09E8-4709-BB50-6BA0E9FF5C79}" dt="2023-12-04T12:26:42.615" v="3326" actId="404"/>
          <ac:spMkLst>
            <pc:docMk/>
            <pc:sldMk cId="2037393113" sldId="3047"/>
            <ac:spMk id="30" creationId="{E60EE261-51D0-1475-5AC2-84D4FC03D2BF}"/>
          </ac:spMkLst>
        </pc:spChg>
        <pc:spChg chg="add mod">
          <ac:chgData name="Carlos Deghi" userId="a6d5b842-f429-4d48-b81f-4727776bba98" providerId="ADAL" clId="{66C837D4-09E8-4709-BB50-6BA0E9FF5C79}" dt="2023-12-04T12:26:42.615" v="3326" actId="404"/>
          <ac:spMkLst>
            <pc:docMk/>
            <pc:sldMk cId="2037393113" sldId="3047"/>
            <ac:spMk id="31" creationId="{58176EE7-F911-2232-9401-BBEC27129393}"/>
          </ac:spMkLst>
        </pc:spChg>
        <pc:spChg chg="add mod">
          <ac:chgData name="Carlos Deghi" userId="a6d5b842-f429-4d48-b81f-4727776bba98" providerId="ADAL" clId="{66C837D4-09E8-4709-BB50-6BA0E9FF5C79}" dt="2023-12-04T12:26:42.615" v="3326" actId="404"/>
          <ac:spMkLst>
            <pc:docMk/>
            <pc:sldMk cId="2037393113" sldId="3047"/>
            <ac:spMk id="32" creationId="{65A6047B-88D8-7864-B672-7263F58CEBE6}"/>
          </ac:spMkLst>
        </pc:spChg>
        <pc:spChg chg="add mod">
          <ac:chgData name="Carlos Deghi" userId="a6d5b842-f429-4d48-b81f-4727776bba98" providerId="ADAL" clId="{66C837D4-09E8-4709-BB50-6BA0E9FF5C79}" dt="2023-12-04T12:26:42.615" v="3326" actId="404"/>
          <ac:spMkLst>
            <pc:docMk/>
            <pc:sldMk cId="2037393113" sldId="3047"/>
            <ac:spMk id="33" creationId="{90FA534F-3A7F-DA42-E3AA-758DC9467096}"/>
          </ac:spMkLst>
        </pc:spChg>
        <pc:spChg chg="add mod">
          <ac:chgData name="Carlos Deghi" userId="a6d5b842-f429-4d48-b81f-4727776bba98" providerId="ADAL" clId="{66C837D4-09E8-4709-BB50-6BA0E9FF5C79}" dt="2023-12-04T12:25:09.179" v="3281"/>
          <ac:spMkLst>
            <pc:docMk/>
            <pc:sldMk cId="2037393113" sldId="3047"/>
            <ac:spMk id="35" creationId="{A81905B2-CC7D-2A3F-4EC3-481B43AA00B6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37" creationId="{7CBD9413-4E40-FD79-1017-1BC5CD38DE60}"/>
          </ac:spMkLst>
        </pc:spChg>
        <pc:spChg chg="add mod">
          <ac:chgData name="Carlos Deghi" userId="a6d5b842-f429-4d48-b81f-4727776bba98" providerId="ADAL" clId="{66C837D4-09E8-4709-BB50-6BA0E9FF5C79}" dt="2023-12-04T13:02:36.319" v="3397" actId="20577"/>
          <ac:spMkLst>
            <pc:docMk/>
            <pc:sldMk cId="2037393113" sldId="3047"/>
            <ac:spMk id="38" creationId="{F5A25D23-F6C6-C9F5-47F9-28130176520C}"/>
          </ac:spMkLst>
        </pc:spChg>
        <pc:spChg chg="add mod ord">
          <ac:chgData name="Carlos Deghi" userId="a6d5b842-f429-4d48-b81f-4727776bba98" providerId="ADAL" clId="{66C837D4-09E8-4709-BB50-6BA0E9FF5C79}" dt="2023-12-04T12:34:20.611" v="3336" actId="207"/>
          <ac:spMkLst>
            <pc:docMk/>
            <pc:sldMk cId="2037393113" sldId="3047"/>
            <ac:spMk id="45" creationId="{DC268514-2410-1D62-532C-031408838129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46" creationId="{766C400E-0027-0F4E-AD55-4183DE4DB6B1}"/>
          </ac:spMkLst>
        </pc:spChg>
        <pc:spChg chg="add mod">
          <ac:chgData name="Carlos Deghi" userId="a6d5b842-f429-4d48-b81f-4727776bba98" providerId="ADAL" clId="{66C837D4-09E8-4709-BB50-6BA0E9FF5C79}" dt="2023-12-04T12:34:58.002" v="3337" actId="207"/>
          <ac:spMkLst>
            <pc:docMk/>
            <pc:sldMk cId="2037393113" sldId="3047"/>
            <ac:spMk id="47" creationId="{23B89E7B-2599-755F-C039-96A7BB23F76D}"/>
          </ac:spMkLst>
        </pc:spChg>
        <pc:picChg chg="add mod">
          <ac:chgData name="Carlos Deghi" userId="a6d5b842-f429-4d48-b81f-4727776bba98" providerId="ADAL" clId="{66C837D4-09E8-4709-BB50-6BA0E9FF5C79}" dt="2023-12-04T12:25:09.179" v="3281"/>
          <ac:picMkLst>
            <pc:docMk/>
            <pc:sldMk cId="2037393113" sldId="3047"/>
            <ac:picMk id="14" creationId="{5E851F29-18E0-5597-EC31-727B41528D13}"/>
          </ac:picMkLst>
        </pc:picChg>
        <pc:picChg chg="add mod">
          <ac:chgData name="Carlos Deghi" userId="a6d5b842-f429-4d48-b81f-4727776bba98" providerId="ADAL" clId="{66C837D4-09E8-4709-BB50-6BA0E9FF5C79}" dt="2023-12-04T12:25:09.179" v="3281"/>
          <ac:picMkLst>
            <pc:docMk/>
            <pc:sldMk cId="2037393113" sldId="3047"/>
            <ac:picMk id="17" creationId="{4FFFC6A4-A407-4A26-4ACB-76103149D375}"/>
          </ac:picMkLst>
        </pc:picChg>
        <pc:picChg chg="add mod">
          <ac:chgData name="Carlos Deghi" userId="a6d5b842-f429-4d48-b81f-4727776bba98" providerId="ADAL" clId="{66C837D4-09E8-4709-BB50-6BA0E9FF5C79}" dt="2023-12-04T12:25:09.179" v="3281"/>
          <ac:picMkLst>
            <pc:docMk/>
            <pc:sldMk cId="2037393113" sldId="3047"/>
            <ac:picMk id="18" creationId="{56039EA4-1E55-A9AB-F267-E0AFD297A0D4}"/>
          </ac:picMkLst>
        </pc:picChg>
        <pc:picChg chg="add mod">
          <ac:chgData name="Carlos Deghi" userId="a6d5b842-f429-4d48-b81f-4727776bba98" providerId="ADAL" clId="{66C837D4-09E8-4709-BB50-6BA0E9FF5C79}" dt="2023-12-04T12:25:09.179" v="3281"/>
          <ac:picMkLst>
            <pc:docMk/>
            <pc:sldMk cId="2037393113" sldId="3047"/>
            <ac:picMk id="19" creationId="{9C31F897-921A-07ED-9730-1BC25AD4312B}"/>
          </ac:picMkLst>
        </pc:picChg>
        <pc:picChg chg="add mod">
          <ac:chgData name="Carlos Deghi" userId="a6d5b842-f429-4d48-b81f-4727776bba98" providerId="ADAL" clId="{66C837D4-09E8-4709-BB50-6BA0E9FF5C79}" dt="2023-12-04T12:25:09.179" v="3281"/>
          <ac:picMkLst>
            <pc:docMk/>
            <pc:sldMk cId="2037393113" sldId="3047"/>
            <ac:picMk id="36" creationId="{372085E2-B1C9-4354-7ECD-ECE4BBC2124A}"/>
          </ac:picMkLst>
        </pc:picChg>
        <pc:picChg chg="add mod">
          <ac:chgData name="Carlos Deghi" userId="a6d5b842-f429-4d48-b81f-4727776bba98" providerId="ADAL" clId="{66C837D4-09E8-4709-BB50-6BA0E9FF5C79}" dt="2023-12-04T13:03:06.428" v="3398"/>
          <ac:picMkLst>
            <pc:docMk/>
            <pc:sldMk cId="2037393113" sldId="3047"/>
            <ac:picMk id="52" creationId="{D5F12E28-134D-7B9F-8EDB-B77F03377482}"/>
          </ac:picMkLst>
        </pc:pic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12" creationId="{EBDC1D77-F697-4251-5D60-F518B9935E63}"/>
          </ac:cxnSpMkLst>
        </pc:cxnChg>
        <pc:cxnChg chg="add mod">
          <ac:chgData name="Carlos Deghi" userId="a6d5b842-f429-4d48-b81f-4727776bba98" providerId="ADAL" clId="{66C837D4-09E8-4709-BB50-6BA0E9FF5C79}" dt="2023-12-04T12:27:39.797" v="3334" actId="1036"/>
          <ac:cxnSpMkLst>
            <pc:docMk/>
            <pc:sldMk cId="2037393113" sldId="3047"/>
            <ac:cxnSpMk id="21" creationId="{0E22AC88-0764-98F0-593F-DFDA6A041A0D}"/>
          </ac:cxnSpMkLst>
        </pc:cxnChg>
        <pc:cxnChg chg="add mod">
          <ac:chgData name="Carlos Deghi" userId="a6d5b842-f429-4d48-b81f-4727776bba98" providerId="ADAL" clId="{66C837D4-09E8-4709-BB50-6BA0E9FF5C79}" dt="2023-12-04T13:01:55.268" v="3380" actId="14100"/>
          <ac:cxnSpMkLst>
            <pc:docMk/>
            <pc:sldMk cId="2037393113" sldId="3047"/>
            <ac:cxnSpMk id="22" creationId="{F7D86CB6-F696-F2C8-31EF-D8D51860799A}"/>
          </ac:cxnSpMkLst>
        </pc:cxnChg>
        <pc:cxnChg chg="add mod">
          <ac:chgData name="Carlos Deghi" userId="a6d5b842-f429-4d48-b81f-4727776bba98" providerId="ADAL" clId="{66C837D4-09E8-4709-BB50-6BA0E9FF5C79}" dt="2023-12-04T13:01:47.596" v="3379" actId="1035"/>
          <ac:cxnSpMkLst>
            <pc:docMk/>
            <pc:sldMk cId="2037393113" sldId="3047"/>
            <ac:cxnSpMk id="23" creationId="{FBA8039F-2A04-DA91-568B-07DFA8DF5D0A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24" creationId="{F5BC94D2-6927-5EEE-916B-CC931AEBE273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25" creationId="{FF54B36B-8AE8-1794-4566-9E62F225A0C5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26" creationId="{3B441DF4-C21A-E34A-58B4-36D2FBAFF5A5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34" creationId="{33D2FB48-0F35-6D43-1AD6-7CAAC7A6A766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39" creationId="{CF79829D-AB21-99F3-2197-87891EA4C830}"/>
          </ac:cxnSpMkLst>
        </pc:cxnChg>
        <pc:cxnChg chg="add mod">
          <ac:chgData name="Carlos Deghi" userId="a6d5b842-f429-4d48-b81f-4727776bba98" providerId="ADAL" clId="{66C837D4-09E8-4709-BB50-6BA0E9FF5C79}" dt="2023-12-04T13:02:02.014" v="3381" actId="14100"/>
          <ac:cxnSpMkLst>
            <pc:docMk/>
            <pc:sldMk cId="2037393113" sldId="3047"/>
            <ac:cxnSpMk id="40" creationId="{834EA393-0978-07A5-0684-919FB75017D7}"/>
          </ac:cxnSpMkLst>
        </pc:cxnChg>
        <pc:cxnChg chg="add mod">
          <ac:chgData name="Carlos Deghi" userId="a6d5b842-f429-4d48-b81f-4727776bba98" providerId="ADAL" clId="{66C837D4-09E8-4709-BB50-6BA0E9FF5C79}" dt="2023-12-04T13:01:19.948" v="3360" actId="1036"/>
          <ac:cxnSpMkLst>
            <pc:docMk/>
            <pc:sldMk cId="2037393113" sldId="3047"/>
            <ac:cxnSpMk id="41" creationId="{96BF56D9-3A61-29C7-14A8-FECD0F09D877}"/>
          </ac:cxnSpMkLst>
        </pc:cxnChg>
        <pc:cxnChg chg="add mod">
          <ac:chgData name="Carlos Deghi" userId="a6d5b842-f429-4d48-b81f-4727776bba98" providerId="ADAL" clId="{66C837D4-09E8-4709-BB50-6BA0E9FF5C79}" dt="2023-12-04T12:25:09.179" v="3281"/>
          <ac:cxnSpMkLst>
            <pc:docMk/>
            <pc:sldMk cId="2037393113" sldId="3047"/>
            <ac:cxnSpMk id="42" creationId="{768378B0-CDB7-ED52-EF59-AF65B2B25DBE}"/>
          </ac:cxnSpMkLst>
        </pc:cxnChg>
        <pc:cxnChg chg="add del mod">
          <ac:chgData name="Carlos Deghi" userId="a6d5b842-f429-4d48-b81f-4727776bba98" providerId="ADAL" clId="{66C837D4-09E8-4709-BB50-6BA0E9FF5C79}" dt="2023-12-04T13:01:34.437" v="3374" actId="478"/>
          <ac:cxnSpMkLst>
            <pc:docMk/>
            <pc:sldMk cId="2037393113" sldId="3047"/>
            <ac:cxnSpMk id="43" creationId="{2C9D2549-0FD2-613E-A091-2B9FA19A1D74}"/>
          </ac:cxnSpMkLst>
        </pc:cxnChg>
        <pc:cxnChg chg="add mod">
          <ac:chgData name="Carlos Deghi" userId="a6d5b842-f429-4d48-b81f-4727776bba98" providerId="ADAL" clId="{66C837D4-09E8-4709-BB50-6BA0E9FF5C79}" dt="2023-12-04T12:27:53.934" v="3335" actId="14100"/>
          <ac:cxnSpMkLst>
            <pc:docMk/>
            <pc:sldMk cId="2037393113" sldId="3047"/>
            <ac:cxnSpMk id="44" creationId="{1901EF7B-AA3C-E763-B485-D9BDC1033725}"/>
          </ac:cxnSpMkLst>
        </pc:cxnChg>
      </pc:sldChg>
      <pc:sldChg chg="add">
        <pc:chgData name="Carlos Deghi" userId="a6d5b842-f429-4d48-b81f-4727776bba98" providerId="ADAL" clId="{66C837D4-09E8-4709-BB50-6BA0E9FF5C79}" dt="2023-12-06T10:46:18.841" v="3505"/>
        <pc:sldMkLst>
          <pc:docMk/>
          <pc:sldMk cId="3095588375" sldId="3051"/>
        </pc:sldMkLst>
      </pc:sldChg>
      <pc:sldChg chg="delSp add del mod">
        <pc:chgData name="Carlos Deghi" userId="a6d5b842-f429-4d48-b81f-4727776bba98" providerId="ADAL" clId="{66C837D4-09E8-4709-BB50-6BA0E9FF5C79}" dt="2023-12-04T12:05:48.362" v="3140" actId="47"/>
        <pc:sldMkLst>
          <pc:docMk/>
          <pc:sldMk cId="3927570214" sldId="3072"/>
        </pc:sldMkLst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2" creationId="{E23150CB-79C1-B5F4-1C77-227110A62B27}"/>
          </ac:spMkLst>
        </pc:spChg>
        <pc:spChg chg="del">
          <ac:chgData name="Carlos Deghi" userId="a6d5b842-f429-4d48-b81f-4727776bba98" providerId="ADAL" clId="{66C837D4-09E8-4709-BB50-6BA0E9FF5C79}" dt="2023-12-04T12:05:33.308" v="3137" actId="478"/>
          <ac:spMkLst>
            <pc:docMk/>
            <pc:sldMk cId="3927570214" sldId="3072"/>
            <ac:spMk id="3" creationId="{57F26348-A7C3-9E22-AAEE-E9375B89DC39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11" creationId="{B8BDD2D0-7F11-AA92-F4DF-9080BA0F10A4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15" creationId="{9D613944-8C0A-6E68-180A-F094FFB99592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19" creationId="{C558BF92-CB8E-CD55-C928-2D2FD522FCBC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47118" creationId="{744EF544-8F60-196C-3B68-120B66D1F4AD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47150" creationId="{DFD4276D-C1AD-ED01-D5A9-0C1FC6185DC5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47151" creationId="{6372CCDB-30B7-3ADD-3BBE-81461A9230E3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47152" creationId="{2F1E66CE-9CC1-0DDB-251F-0530C6469127}"/>
          </ac:spMkLst>
        </pc:spChg>
        <pc:spChg chg="del">
          <ac:chgData name="Carlos Deghi" userId="a6d5b842-f429-4d48-b81f-4727776bba98" providerId="ADAL" clId="{66C837D4-09E8-4709-BB50-6BA0E9FF5C79}" dt="2023-12-04T12:05:40.176" v="3138" actId="21"/>
          <ac:spMkLst>
            <pc:docMk/>
            <pc:sldMk cId="3927570214" sldId="3072"/>
            <ac:spMk id="47235" creationId="{8D9FFE7E-F42A-A7D8-F3DF-DD256F0D76A7}"/>
          </ac:spMkLst>
        </pc:spChg>
        <pc:grpChg chg="del">
          <ac:chgData name="Carlos Deghi" userId="a6d5b842-f429-4d48-b81f-4727776bba98" providerId="ADAL" clId="{66C837D4-09E8-4709-BB50-6BA0E9FF5C79}" dt="2023-12-04T12:05:40.176" v="3138" actId="21"/>
          <ac:grpSpMkLst>
            <pc:docMk/>
            <pc:sldMk cId="3927570214" sldId="3072"/>
            <ac:grpSpMk id="12" creationId="{EC19B9F1-A678-EBCC-1ADD-664B9B69D4FA}"/>
          </ac:grpSpMkLst>
        </pc:grpChg>
        <pc:grpChg chg="del">
          <ac:chgData name="Carlos Deghi" userId="a6d5b842-f429-4d48-b81f-4727776bba98" providerId="ADAL" clId="{66C837D4-09E8-4709-BB50-6BA0E9FF5C79}" dt="2023-12-04T12:05:40.176" v="3138" actId="21"/>
          <ac:grpSpMkLst>
            <pc:docMk/>
            <pc:sldMk cId="3927570214" sldId="3072"/>
            <ac:grpSpMk id="13" creationId="{972B462D-8C51-7E10-7639-3F6F1205FC86}"/>
          </ac:grpSpMkLst>
        </pc:grpChg>
        <pc:grpChg chg="del">
          <ac:chgData name="Carlos Deghi" userId="a6d5b842-f429-4d48-b81f-4727776bba98" providerId="ADAL" clId="{66C837D4-09E8-4709-BB50-6BA0E9FF5C79}" dt="2023-12-04T12:05:40.176" v="3138" actId="21"/>
          <ac:grpSpMkLst>
            <pc:docMk/>
            <pc:sldMk cId="3927570214" sldId="3072"/>
            <ac:grpSpMk id="25" creationId="{691B19A7-3CC8-D89F-9061-F8F2D9C9B02A}"/>
          </ac:grpSpMkLst>
        </pc:grpChg>
        <pc:grpChg chg="del">
          <ac:chgData name="Carlos Deghi" userId="a6d5b842-f429-4d48-b81f-4727776bba98" providerId="ADAL" clId="{66C837D4-09E8-4709-BB50-6BA0E9FF5C79}" dt="2023-12-04T12:05:40.176" v="3138" actId="21"/>
          <ac:grpSpMkLst>
            <pc:docMk/>
            <pc:sldMk cId="3927570214" sldId="3072"/>
            <ac:grpSpMk id="27" creationId="{066485B0-1842-067A-D212-F2B7C89B3613}"/>
          </ac:grpSpMkLst>
        </pc:grpChg>
        <pc:grpChg chg="del">
          <ac:chgData name="Carlos Deghi" userId="a6d5b842-f429-4d48-b81f-4727776bba98" providerId="ADAL" clId="{66C837D4-09E8-4709-BB50-6BA0E9FF5C79}" dt="2023-12-04T12:05:40.176" v="3138" actId="21"/>
          <ac:grpSpMkLst>
            <pc:docMk/>
            <pc:sldMk cId="3927570214" sldId="3072"/>
            <ac:grpSpMk id="28" creationId="{C937F890-4844-B74E-ADF9-971C2E3126A0}"/>
          </ac:grpSpMkLst>
        </pc:grp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10" creationId="{F3274F9E-1BA2-3A7E-FA1A-222294C84888}"/>
          </ac:picMkLst>
        </pc:pic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1026" creationId="{85C184F2-332E-8F37-4B2D-5F97DF0658E0}"/>
          </ac:picMkLst>
        </pc:pic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1028" creationId="{58B780A1-5C6A-BCFE-2B8A-410697DB0F2C}"/>
          </ac:picMkLst>
        </pc:pic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1030" creationId="{8865BAA4-7B83-3342-40CE-BDB9082C904A}"/>
          </ac:picMkLst>
        </pc:pic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1032" creationId="{438C3EFC-8448-184C-0185-E01BADAFDC7D}"/>
          </ac:picMkLst>
        </pc:picChg>
        <pc:picChg chg="del">
          <ac:chgData name="Carlos Deghi" userId="a6d5b842-f429-4d48-b81f-4727776bba98" providerId="ADAL" clId="{66C837D4-09E8-4709-BB50-6BA0E9FF5C79}" dt="2023-12-04T12:05:40.176" v="3138" actId="21"/>
          <ac:picMkLst>
            <pc:docMk/>
            <pc:sldMk cId="3927570214" sldId="3072"/>
            <ac:picMk id="2050" creationId="{3806C85D-E0B5-811F-512A-9A31BFAB1849}"/>
          </ac:picMkLst>
        </pc:picChg>
        <pc:cxnChg chg="del">
          <ac:chgData name="Carlos Deghi" userId="a6d5b842-f429-4d48-b81f-4727776bba98" providerId="ADAL" clId="{66C837D4-09E8-4709-BB50-6BA0E9FF5C79}" dt="2023-12-04T12:05:40.176" v="3138" actId="21"/>
          <ac:cxnSpMkLst>
            <pc:docMk/>
            <pc:sldMk cId="3927570214" sldId="3072"/>
            <ac:cxnSpMk id="9" creationId="{C19D7343-1872-C558-937E-24FBFD9E5031}"/>
          </ac:cxnSpMkLst>
        </pc:cxnChg>
        <pc:cxnChg chg="del">
          <ac:chgData name="Carlos Deghi" userId="a6d5b842-f429-4d48-b81f-4727776bba98" providerId="ADAL" clId="{66C837D4-09E8-4709-BB50-6BA0E9FF5C79}" dt="2023-12-04T12:05:40.176" v="3138" actId="21"/>
          <ac:cxnSpMkLst>
            <pc:docMk/>
            <pc:sldMk cId="3927570214" sldId="3072"/>
            <ac:cxnSpMk id="14" creationId="{A9DEC11A-3D7C-FC19-067A-15FCABD76575}"/>
          </ac:cxnSpMkLst>
        </pc:cxnChg>
        <pc:cxnChg chg="del">
          <ac:chgData name="Carlos Deghi" userId="a6d5b842-f429-4d48-b81f-4727776bba98" providerId="ADAL" clId="{66C837D4-09E8-4709-BB50-6BA0E9FF5C79}" dt="2023-12-04T12:05:40.176" v="3138" actId="21"/>
          <ac:cxnSpMkLst>
            <pc:docMk/>
            <pc:sldMk cId="3927570214" sldId="3072"/>
            <ac:cxnSpMk id="31" creationId="{58F96B39-E3EE-3F8B-75F5-4EF17C06DA99}"/>
          </ac:cxnSpMkLst>
        </pc:cxnChg>
        <pc:cxnChg chg="del">
          <ac:chgData name="Carlos Deghi" userId="a6d5b842-f429-4d48-b81f-4727776bba98" providerId="ADAL" clId="{66C837D4-09E8-4709-BB50-6BA0E9FF5C79}" dt="2023-12-04T12:05:40.176" v="3138" actId="21"/>
          <ac:cxnSpMkLst>
            <pc:docMk/>
            <pc:sldMk cId="3927570214" sldId="3072"/>
            <ac:cxnSpMk id="47120" creationId="{C62EC75B-B2AF-ED34-7056-BBFC60DAA80C}"/>
          </ac:cxnSpMkLst>
        </pc:cxnChg>
      </pc:sldChg>
      <pc:sldChg chg="add del">
        <pc:chgData name="Carlos Deghi" userId="a6d5b842-f429-4d48-b81f-4727776bba98" providerId="ADAL" clId="{66C837D4-09E8-4709-BB50-6BA0E9FF5C79}" dt="2023-12-04T12:12:03.550" v="3225"/>
        <pc:sldMkLst>
          <pc:docMk/>
          <pc:sldMk cId="2764669753" sldId="3125"/>
        </pc:sldMkLst>
      </pc:sldChg>
      <pc:sldChg chg="add del">
        <pc:chgData name="Carlos Deghi" userId="a6d5b842-f429-4d48-b81f-4727776bba98" providerId="ADAL" clId="{66C837D4-09E8-4709-BB50-6BA0E9FF5C79}" dt="2023-12-04T12:09:55.062" v="3212"/>
        <pc:sldMkLst>
          <pc:docMk/>
          <pc:sldMk cId="1316233415" sldId="3150"/>
        </pc:sldMkLst>
      </pc:sldChg>
      <pc:sldMasterChg chg="addSp modSp mod modSldLayout">
        <pc:chgData name="Carlos Deghi" userId="a6d5b842-f429-4d48-b81f-4727776bba98" providerId="ADAL" clId="{66C837D4-09E8-4709-BB50-6BA0E9FF5C79}" dt="2023-12-04T08:36:38.293" v="646" actId="1076"/>
        <pc:sldMasterMkLst>
          <pc:docMk/>
          <pc:sldMasterMk cId="0" sldId="2147483648"/>
        </pc:sldMasterMkLst>
        <pc:spChg chg="mod">
          <ac:chgData name="Carlos Deghi" userId="a6d5b842-f429-4d48-b81f-4727776bba98" providerId="ADAL" clId="{66C837D4-09E8-4709-BB50-6BA0E9FF5C79}" dt="2023-12-04T08:14:48.979" v="536" actId="1076"/>
          <ac:spMkLst>
            <pc:docMk/>
            <pc:sldMasterMk cId="0" sldId="2147483648"/>
            <ac:spMk id="2" creationId="{00000000-0000-0000-0000-000000000000}"/>
          </ac:spMkLst>
        </pc:spChg>
        <pc:spChg chg="mod">
          <ac:chgData name="Carlos Deghi" userId="a6d5b842-f429-4d48-b81f-4727776bba98" providerId="ADAL" clId="{66C837D4-09E8-4709-BB50-6BA0E9FF5C79}" dt="2023-12-04T08:14:10.872" v="532"/>
          <ac:spMkLst>
            <pc:docMk/>
            <pc:sldMasterMk cId="0" sldId="2147483648"/>
            <ac:spMk id="6" creationId="{315FD507-1E93-5B82-A6AB-E75C3616A8A7}"/>
          </ac:spMkLst>
        </pc:spChg>
        <pc:spChg chg="mod">
          <ac:chgData name="Carlos Deghi" userId="a6d5b842-f429-4d48-b81f-4727776bba98" providerId="ADAL" clId="{66C837D4-09E8-4709-BB50-6BA0E9FF5C79}" dt="2023-12-04T08:14:10.872" v="532"/>
          <ac:spMkLst>
            <pc:docMk/>
            <pc:sldMasterMk cId="0" sldId="2147483648"/>
            <ac:spMk id="7" creationId="{DED29AF9-9D8D-71EE-2018-DBDDF78AA89A}"/>
          </ac:spMkLst>
        </pc:spChg>
        <pc:spChg chg="mod">
          <ac:chgData name="Carlos Deghi" userId="a6d5b842-f429-4d48-b81f-4727776bba98" providerId="ADAL" clId="{66C837D4-09E8-4709-BB50-6BA0E9FF5C79}" dt="2023-12-04T08:14:10.872" v="532"/>
          <ac:spMkLst>
            <pc:docMk/>
            <pc:sldMasterMk cId="0" sldId="2147483648"/>
            <ac:spMk id="8" creationId="{9FC0448C-BE6E-3B94-8CC4-F2385F653B9D}"/>
          </ac:spMkLst>
        </pc:spChg>
        <pc:spChg chg="mod">
          <ac:chgData name="Carlos Deghi" userId="a6d5b842-f429-4d48-b81f-4727776bba98" providerId="ADAL" clId="{66C837D4-09E8-4709-BB50-6BA0E9FF5C79}" dt="2023-12-04T08:14:10.872" v="532"/>
          <ac:spMkLst>
            <pc:docMk/>
            <pc:sldMasterMk cId="0" sldId="2147483648"/>
            <ac:spMk id="9" creationId="{355E7944-A41C-1ECD-2531-7A24725761F3}"/>
          </ac:spMkLst>
        </pc:spChg>
        <pc:grpChg chg="add mod">
          <ac:chgData name="Carlos Deghi" userId="a6d5b842-f429-4d48-b81f-4727776bba98" providerId="ADAL" clId="{66C837D4-09E8-4709-BB50-6BA0E9FF5C79}" dt="2023-12-04T08:14:10.872" v="532"/>
          <ac:grpSpMkLst>
            <pc:docMk/>
            <pc:sldMasterMk cId="0" sldId="2147483648"/>
            <ac:grpSpMk id="5" creationId="{4EFED489-320D-4790-30C1-745F1830E97A}"/>
          </ac:grpSpMkLst>
        </pc:grpChg>
        <pc:sldLayoutChg chg="delSp modSp mod">
          <pc:chgData name="Carlos Deghi" userId="a6d5b842-f429-4d48-b81f-4727776bba98" providerId="ADAL" clId="{66C837D4-09E8-4709-BB50-6BA0E9FF5C79}" dt="2023-12-04T08:35:06.628" v="631" actId="108"/>
          <pc:sldLayoutMkLst>
            <pc:docMk/>
            <pc:sldMasterMk cId="0" sldId="2147483648"/>
            <pc:sldLayoutMk cId="3881091110" sldId="2147483678"/>
          </pc:sldLayoutMkLst>
          <pc:spChg chg="mod">
            <ac:chgData name="Carlos Deghi" userId="a6d5b842-f429-4d48-b81f-4727776bba98" providerId="ADAL" clId="{66C837D4-09E8-4709-BB50-6BA0E9FF5C79}" dt="2023-12-04T08:35:06.628" v="631" actId="108"/>
            <ac:spMkLst>
              <pc:docMk/>
              <pc:sldMasterMk cId="0" sldId="2147483648"/>
              <pc:sldLayoutMk cId="3881091110" sldId="2147483678"/>
              <ac:spMk id="4" creationId="{00000000-0000-0000-0000-000000000000}"/>
            </ac:spMkLst>
          </pc:spChg>
          <pc:spChg chg="mod">
            <ac:chgData name="Carlos Deghi" userId="a6d5b842-f429-4d48-b81f-4727776bba98" providerId="ADAL" clId="{66C837D4-09E8-4709-BB50-6BA0E9FF5C79}" dt="2023-12-04T08:27:22.189" v="595" actId="1076"/>
            <ac:spMkLst>
              <pc:docMk/>
              <pc:sldMasterMk cId="0" sldId="2147483648"/>
              <pc:sldLayoutMk cId="3881091110" sldId="2147483678"/>
              <ac:spMk id="6" creationId="{7B5AA850-EEB3-4FCB-B872-38A008CC868E}"/>
            </ac:spMkLst>
          </pc:spChg>
          <pc:grpChg chg="del">
            <ac:chgData name="Carlos Deghi" userId="a6d5b842-f429-4d48-b81f-4727776bba98" providerId="ADAL" clId="{66C837D4-09E8-4709-BB50-6BA0E9FF5C79}" dt="2023-12-04T08:15:17.135" v="537" actId="478"/>
            <ac:grpSpMkLst>
              <pc:docMk/>
              <pc:sldMasterMk cId="0" sldId="2147483648"/>
              <pc:sldLayoutMk cId="3881091110" sldId="2147483678"/>
              <ac:grpSpMk id="7" creationId="{267117FC-D157-473C-AF46-9238CE6E2B80}"/>
            </ac:grpSpMkLst>
          </pc:grpChg>
        </pc:sldLayoutChg>
        <pc:sldLayoutChg chg="addSp delSp modSp mod">
          <pc:chgData name="Carlos Deghi" userId="a6d5b842-f429-4d48-b81f-4727776bba98" providerId="ADAL" clId="{66C837D4-09E8-4709-BB50-6BA0E9FF5C79}" dt="2023-12-04T08:10:07.772" v="518"/>
          <pc:sldLayoutMkLst>
            <pc:docMk/>
            <pc:sldMasterMk cId="0" sldId="2147483648"/>
            <pc:sldLayoutMk cId="428195933" sldId="2147483695"/>
          </pc:sldLayoutMkLst>
          <pc:spChg chg="mod">
            <ac:chgData name="Carlos Deghi" userId="a6d5b842-f429-4d48-b81f-4727776bba98" providerId="ADAL" clId="{66C837D4-09E8-4709-BB50-6BA0E9FF5C79}" dt="2023-12-04T08:07:30.787" v="452" actId="20577"/>
            <ac:spMkLst>
              <pc:docMk/>
              <pc:sldMasterMk cId="0" sldId="2147483648"/>
              <pc:sldLayoutMk cId="428195933" sldId="2147483695"/>
              <ac:spMk id="6" creationId="{929FBE3D-F8E8-4C6E-A3A9-2F843C3D4556}"/>
            </ac:spMkLst>
          </pc:spChg>
          <pc:spChg chg="mod">
            <ac:chgData name="Carlos Deghi" userId="a6d5b842-f429-4d48-b81f-4727776bba98" providerId="ADAL" clId="{66C837D4-09E8-4709-BB50-6BA0E9FF5C79}" dt="2023-12-04T08:10:07.772" v="518"/>
            <ac:spMkLst>
              <pc:docMk/>
              <pc:sldMasterMk cId="0" sldId="2147483648"/>
              <pc:sldLayoutMk cId="428195933" sldId="2147483695"/>
              <ac:spMk id="8" creationId="{A938381F-3BED-81B3-35CB-2E3897D15991}"/>
            </ac:spMkLst>
          </pc:spChg>
          <pc:spChg chg="mod">
            <ac:chgData name="Carlos Deghi" userId="a6d5b842-f429-4d48-b81f-4727776bba98" providerId="ADAL" clId="{66C837D4-09E8-4709-BB50-6BA0E9FF5C79}" dt="2023-12-04T08:10:07.772" v="518"/>
            <ac:spMkLst>
              <pc:docMk/>
              <pc:sldMasterMk cId="0" sldId="2147483648"/>
              <pc:sldLayoutMk cId="428195933" sldId="2147483695"/>
              <ac:spMk id="9" creationId="{0EA0A76F-3B39-933D-7DAB-B3D6B52690C4}"/>
            </ac:spMkLst>
          </pc:spChg>
          <pc:spChg chg="mod">
            <ac:chgData name="Carlos Deghi" userId="a6d5b842-f429-4d48-b81f-4727776bba98" providerId="ADAL" clId="{66C837D4-09E8-4709-BB50-6BA0E9FF5C79}" dt="2023-12-04T08:10:07.772" v="518"/>
            <ac:spMkLst>
              <pc:docMk/>
              <pc:sldMasterMk cId="0" sldId="2147483648"/>
              <pc:sldLayoutMk cId="428195933" sldId="2147483695"/>
              <ac:spMk id="10" creationId="{9589C62A-BA56-3340-8AD2-03B54159DF4E}"/>
            </ac:spMkLst>
          </pc:spChg>
          <pc:spChg chg="mod">
            <ac:chgData name="Carlos Deghi" userId="a6d5b842-f429-4d48-b81f-4727776bba98" providerId="ADAL" clId="{66C837D4-09E8-4709-BB50-6BA0E9FF5C79}" dt="2023-12-04T08:10:07.772" v="518"/>
            <ac:spMkLst>
              <pc:docMk/>
              <pc:sldMasterMk cId="0" sldId="2147483648"/>
              <pc:sldLayoutMk cId="428195933" sldId="2147483695"/>
              <ac:spMk id="11" creationId="{C9B7CF53-13CF-C74D-BADB-F3F78FC94C98}"/>
            </ac:spMkLst>
          </pc:spChg>
          <pc:grpChg chg="add del">
            <ac:chgData name="Carlos Deghi" userId="a6d5b842-f429-4d48-b81f-4727776bba98" providerId="ADAL" clId="{66C837D4-09E8-4709-BB50-6BA0E9FF5C79}" dt="2023-12-04T08:10:07.033" v="517" actId="478"/>
            <ac:grpSpMkLst>
              <pc:docMk/>
              <pc:sldMasterMk cId="0" sldId="2147483648"/>
              <pc:sldLayoutMk cId="428195933" sldId="2147483695"/>
              <ac:grpSpMk id="2" creationId="{8E4C9A70-8425-73A9-A13B-09B28383E2EF}"/>
            </ac:grpSpMkLst>
          </pc:grpChg>
          <pc:grpChg chg="add mod">
            <ac:chgData name="Carlos Deghi" userId="a6d5b842-f429-4d48-b81f-4727776bba98" providerId="ADAL" clId="{66C837D4-09E8-4709-BB50-6BA0E9FF5C79}" dt="2023-12-04T08:10:07.772" v="518"/>
            <ac:grpSpMkLst>
              <pc:docMk/>
              <pc:sldMasterMk cId="0" sldId="2147483648"/>
              <pc:sldLayoutMk cId="428195933" sldId="2147483695"/>
              <ac:grpSpMk id="7" creationId="{F4CB9762-9164-60D6-1EEA-84C37610F45B}"/>
            </ac:grpSpMkLst>
          </pc:grpChg>
        </pc:sldLayoutChg>
        <pc:sldLayoutChg chg="delSp modSp mod">
          <pc:chgData name="Carlos Deghi" userId="a6d5b842-f429-4d48-b81f-4727776bba98" providerId="ADAL" clId="{66C837D4-09E8-4709-BB50-6BA0E9FF5C79}" dt="2023-12-04T08:35:11.045" v="632" actId="108"/>
          <pc:sldLayoutMkLst>
            <pc:docMk/>
            <pc:sldMasterMk cId="0" sldId="2147483648"/>
            <pc:sldLayoutMk cId="1842891208" sldId="2147483697"/>
          </pc:sldLayoutMkLst>
          <pc:spChg chg="mod">
            <ac:chgData name="Carlos Deghi" userId="a6d5b842-f429-4d48-b81f-4727776bba98" providerId="ADAL" clId="{66C837D4-09E8-4709-BB50-6BA0E9FF5C79}" dt="2023-12-04T08:35:11.045" v="632" actId="108"/>
            <ac:spMkLst>
              <pc:docMk/>
              <pc:sldMasterMk cId="0" sldId="2147483648"/>
              <pc:sldLayoutMk cId="1842891208" sldId="2147483697"/>
              <ac:spMk id="6" creationId="{00000000-0000-0000-0000-000000000000}"/>
            </ac:spMkLst>
          </pc:spChg>
          <pc:spChg chg="mod">
            <ac:chgData name="Carlos Deghi" userId="a6d5b842-f429-4d48-b81f-4727776bba98" providerId="ADAL" clId="{66C837D4-09E8-4709-BB50-6BA0E9FF5C79}" dt="2023-12-04T08:27:51.943" v="600" actId="1076"/>
            <ac:spMkLst>
              <pc:docMk/>
              <pc:sldMasterMk cId="0" sldId="2147483648"/>
              <pc:sldLayoutMk cId="1842891208" sldId="2147483697"/>
              <ac:spMk id="8" creationId="{4CA0F225-71EE-4783-9C9B-64253C51941A}"/>
            </ac:spMkLst>
          </pc:spChg>
          <pc:grpChg chg="del">
            <ac:chgData name="Carlos Deghi" userId="a6d5b842-f429-4d48-b81f-4727776bba98" providerId="ADAL" clId="{66C837D4-09E8-4709-BB50-6BA0E9FF5C79}" dt="2023-12-04T08:24:49.025" v="587" actId="478"/>
            <ac:grpSpMkLst>
              <pc:docMk/>
              <pc:sldMasterMk cId="0" sldId="2147483648"/>
              <pc:sldLayoutMk cId="1842891208" sldId="2147483697"/>
              <ac:grpSpMk id="9" creationId="{FB00C52C-D825-4A03-82A7-6FABDDBF14BD}"/>
            </ac:grpSpMkLst>
          </pc:grpChg>
        </pc:sldLayoutChg>
        <pc:sldLayoutChg chg="addSp delSp modSp mod">
          <pc:chgData name="Carlos Deghi" userId="a6d5b842-f429-4d48-b81f-4727776bba98" providerId="ADAL" clId="{66C837D4-09E8-4709-BB50-6BA0E9FF5C79}" dt="2023-12-04T08:23:05.718" v="576"/>
          <pc:sldLayoutMkLst>
            <pc:docMk/>
            <pc:sldMasterMk cId="0" sldId="2147483648"/>
            <pc:sldLayoutMk cId="2522486704" sldId="2147483711"/>
          </pc:sldLayoutMkLst>
          <pc:spChg chg="mod">
            <ac:chgData name="Carlos Deghi" userId="a6d5b842-f429-4d48-b81f-4727776bba98" providerId="ADAL" clId="{66C837D4-09E8-4709-BB50-6BA0E9FF5C79}" dt="2023-12-04T08:11:32.855" v="523" actId="1076"/>
            <ac:spMkLst>
              <pc:docMk/>
              <pc:sldMasterMk cId="0" sldId="2147483648"/>
              <pc:sldLayoutMk cId="2522486704" sldId="2147483711"/>
              <ac:spMk id="6" creationId="{D817E431-517F-4D1D-AAFE-DC596393BDBD}"/>
            </ac:spMkLst>
          </pc:spChg>
          <pc:spChg chg="add del mod ord">
            <ac:chgData name="Carlos Deghi" userId="a6d5b842-f429-4d48-b81f-4727776bba98" providerId="ADAL" clId="{66C837D4-09E8-4709-BB50-6BA0E9FF5C79}" dt="2023-12-04T08:09:21.837" v="514" actId="478"/>
            <ac:spMkLst>
              <pc:docMk/>
              <pc:sldMasterMk cId="0" sldId="2147483648"/>
              <pc:sldLayoutMk cId="2522486704" sldId="2147483711"/>
              <ac:spMk id="15" creationId="{B77D6EEA-5F30-BE9A-C1F5-16FD455B1C24}"/>
            </ac:spMkLst>
          </pc:spChg>
          <pc:spChg chg="mod">
            <ac:chgData name="Carlos Deghi" userId="a6d5b842-f429-4d48-b81f-4727776bba98" providerId="ADAL" clId="{66C837D4-09E8-4709-BB50-6BA0E9FF5C79}" dt="2023-12-04T08:23:05.718" v="576"/>
            <ac:spMkLst>
              <pc:docMk/>
              <pc:sldMasterMk cId="0" sldId="2147483648"/>
              <pc:sldLayoutMk cId="2522486704" sldId="2147483711"/>
              <ac:spMk id="18" creationId="{D0C6E3C8-A277-8C5F-5067-32DE124D0DF3}"/>
            </ac:spMkLst>
          </pc:spChg>
          <pc:spChg chg="mod">
            <ac:chgData name="Carlos Deghi" userId="a6d5b842-f429-4d48-b81f-4727776bba98" providerId="ADAL" clId="{66C837D4-09E8-4709-BB50-6BA0E9FF5C79}" dt="2023-12-04T08:23:05.718" v="576"/>
            <ac:spMkLst>
              <pc:docMk/>
              <pc:sldMasterMk cId="0" sldId="2147483648"/>
              <pc:sldLayoutMk cId="2522486704" sldId="2147483711"/>
              <ac:spMk id="19" creationId="{AA0DF0AE-4F36-43AF-84CC-C340CB503B9B}"/>
            </ac:spMkLst>
          </pc:spChg>
          <pc:spChg chg="mod">
            <ac:chgData name="Carlos Deghi" userId="a6d5b842-f429-4d48-b81f-4727776bba98" providerId="ADAL" clId="{66C837D4-09E8-4709-BB50-6BA0E9FF5C79}" dt="2023-12-04T08:23:05.718" v="576"/>
            <ac:spMkLst>
              <pc:docMk/>
              <pc:sldMasterMk cId="0" sldId="2147483648"/>
              <pc:sldLayoutMk cId="2522486704" sldId="2147483711"/>
              <ac:spMk id="20" creationId="{6C993DA3-291B-25DA-1A77-062331C2477C}"/>
            </ac:spMkLst>
          </pc:spChg>
          <pc:spChg chg="mod">
            <ac:chgData name="Carlos Deghi" userId="a6d5b842-f429-4d48-b81f-4727776bba98" providerId="ADAL" clId="{66C837D4-09E8-4709-BB50-6BA0E9FF5C79}" dt="2023-12-04T08:23:05.718" v="576"/>
            <ac:spMkLst>
              <pc:docMk/>
              <pc:sldMasterMk cId="0" sldId="2147483648"/>
              <pc:sldLayoutMk cId="2522486704" sldId="2147483711"/>
              <ac:spMk id="21" creationId="{29984EFC-F2A6-905D-C3E3-C54DE705E191}"/>
            </ac:spMkLst>
          </pc:spChg>
          <pc:grpChg chg="del">
            <ac:chgData name="Carlos Deghi" userId="a6d5b842-f429-4d48-b81f-4727776bba98" providerId="ADAL" clId="{66C837D4-09E8-4709-BB50-6BA0E9FF5C79}" dt="2023-12-04T08:23:03.686" v="575" actId="478"/>
            <ac:grpSpMkLst>
              <pc:docMk/>
              <pc:sldMasterMk cId="0" sldId="2147483648"/>
              <pc:sldLayoutMk cId="2522486704" sldId="2147483711"/>
              <ac:grpSpMk id="2" creationId="{4AAD6A2B-7627-B936-5CD4-7D9DE104DB8E}"/>
            </ac:grpSpMkLst>
          </pc:grpChg>
          <pc:grpChg chg="del mod">
            <ac:chgData name="Carlos Deghi" userId="a6d5b842-f429-4d48-b81f-4727776bba98" providerId="ADAL" clId="{66C837D4-09E8-4709-BB50-6BA0E9FF5C79}" dt="2023-12-04T08:23:03.686" v="575" actId="478"/>
            <ac:grpSpMkLst>
              <pc:docMk/>
              <pc:sldMasterMk cId="0" sldId="2147483648"/>
              <pc:sldLayoutMk cId="2522486704" sldId="2147483711"/>
              <ac:grpSpMk id="7" creationId="{DA4A236E-1EBB-4CB8-9689-67A058E2E8B3}"/>
            </ac:grpSpMkLst>
          </pc:grpChg>
          <pc:grpChg chg="add mod">
            <ac:chgData name="Carlos Deghi" userId="a6d5b842-f429-4d48-b81f-4727776bba98" providerId="ADAL" clId="{66C837D4-09E8-4709-BB50-6BA0E9FF5C79}" dt="2023-12-04T08:23:05.718" v="576"/>
            <ac:grpSpMkLst>
              <pc:docMk/>
              <pc:sldMasterMk cId="0" sldId="2147483648"/>
              <pc:sldLayoutMk cId="2522486704" sldId="2147483711"/>
              <ac:grpSpMk id="17" creationId="{DB9E07E3-BB97-2EB5-13C8-D8519694F796}"/>
            </ac:grpSpMkLst>
          </pc:grpChg>
        </pc:sldLayoutChg>
        <pc:sldLayoutChg chg="delSp modSp mod">
          <pc:chgData name="Carlos Deghi" userId="a6d5b842-f429-4d48-b81f-4727776bba98" providerId="ADAL" clId="{66C837D4-09E8-4709-BB50-6BA0E9FF5C79}" dt="2023-12-04T08:35:49.609" v="637" actId="108"/>
          <pc:sldLayoutMkLst>
            <pc:docMk/>
            <pc:sldMasterMk cId="0" sldId="2147483648"/>
            <pc:sldLayoutMk cId="1031036312" sldId="2147483715"/>
          </pc:sldLayoutMkLst>
          <pc:spChg chg="mod">
            <ac:chgData name="Carlos Deghi" userId="a6d5b842-f429-4d48-b81f-4727776bba98" providerId="ADAL" clId="{66C837D4-09E8-4709-BB50-6BA0E9FF5C79}" dt="2023-12-04T08:35:49.609" v="637" actId="108"/>
            <ac:spMkLst>
              <pc:docMk/>
              <pc:sldMasterMk cId="0" sldId="2147483648"/>
              <pc:sldLayoutMk cId="1031036312" sldId="2147483715"/>
              <ac:spMk id="6" creationId="{00000000-0000-0000-0000-000000000000}"/>
            </ac:spMkLst>
          </pc:spChg>
          <pc:spChg chg="mod">
            <ac:chgData name="Carlos Deghi" userId="a6d5b842-f429-4d48-b81f-4727776bba98" providerId="ADAL" clId="{66C837D4-09E8-4709-BB50-6BA0E9FF5C79}" dt="2023-12-04T08:29:16.618" v="608" actId="1076"/>
            <ac:spMkLst>
              <pc:docMk/>
              <pc:sldMasterMk cId="0" sldId="2147483648"/>
              <pc:sldLayoutMk cId="1031036312" sldId="2147483715"/>
              <ac:spMk id="7" creationId="{914A3732-CE01-40D2-959D-9878608BCE6B}"/>
            </ac:spMkLst>
          </pc:spChg>
          <pc:grpChg chg="del">
            <ac:chgData name="Carlos Deghi" userId="a6d5b842-f429-4d48-b81f-4727776bba98" providerId="ADAL" clId="{66C837D4-09E8-4709-BB50-6BA0E9FF5C79}" dt="2023-12-04T08:24:43.138" v="586" actId="478"/>
            <ac:grpSpMkLst>
              <pc:docMk/>
              <pc:sldMasterMk cId="0" sldId="2147483648"/>
              <pc:sldLayoutMk cId="1031036312" sldId="2147483715"/>
              <ac:grpSpMk id="8" creationId="{376C02DD-9C30-4E46-8D46-D4D5BB1FDF64}"/>
            </ac:grpSpMkLst>
          </pc:grpChg>
        </pc:sldLayoutChg>
        <pc:sldLayoutChg chg="delSp modSp mod">
          <pc:chgData name="Carlos Deghi" userId="a6d5b842-f429-4d48-b81f-4727776bba98" providerId="ADAL" clId="{66C837D4-09E8-4709-BB50-6BA0E9FF5C79}" dt="2023-12-04T08:36:20.409" v="642" actId="1076"/>
          <pc:sldLayoutMkLst>
            <pc:docMk/>
            <pc:sldMasterMk cId="0" sldId="2147483648"/>
            <pc:sldLayoutMk cId="2179466235" sldId="2147483716"/>
          </pc:sldLayoutMkLst>
          <pc:spChg chg="mod">
            <ac:chgData name="Carlos Deghi" userId="a6d5b842-f429-4d48-b81f-4727776bba98" providerId="ADAL" clId="{66C837D4-09E8-4709-BB50-6BA0E9FF5C79}" dt="2023-12-04T08:29:29.604" v="609" actId="108"/>
            <ac:spMkLst>
              <pc:docMk/>
              <pc:sldMasterMk cId="0" sldId="2147483648"/>
              <pc:sldLayoutMk cId="2179466235" sldId="2147483716"/>
              <ac:spMk id="8" creationId="{D0E81F4B-C814-4863-9512-3B20CC896415}"/>
            </ac:spMkLst>
          </pc:spChg>
          <pc:spChg chg="mod">
            <ac:chgData name="Carlos Deghi" userId="a6d5b842-f429-4d48-b81f-4727776bba98" providerId="ADAL" clId="{66C837D4-09E8-4709-BB50-6BA0E9FF5C79}" dt="2023-12-04T08:36:20.409" v="642" actId="1076"/>
            <ac:spMkLst>
              <pc:docMk/>
              <pc:sldMasterMk cId="0" sldId="2147483648"/>
              <pc:sldLayoutMk cId="2179466235" sldId="2147483716"/>
              <ac:spMk id="12" creationId="{00000000-0000-0000-0000-000000000000}"/>
            </ac:spMkLst>
          </pc:spChg>
          <pc:grpChg chg="del">
            <ac:chgData name="Carlos Deghi" userId="a6d5b842-f429-4d48-b81f-4727776bba98" providerId="ADAL" clId="{66C837D4-09E8-4709-BB50-6BA0E9FF5C79}" dt="2023-12-04T08:24:37.637" v="585" actId="478"/>
            <ac:grpSpMkLst>
              <pc:docMk/>
              <pc:sldMasterMk cId="0" sldId="2147483648"/>
              <pc:sldLayoutMk cId="2179466235" sldId="2147483716"/>
              <ac:grpSpMk id="11" creationId="{C7F08EF3-6EF8-4648-AD75-0C56FD45A906}"/>
            </ac:grpSpMkLst>
          </pc:grpChg>
        </pc:sldLayoutChg>
        <pc:sldLayoutChg chg="delSp modSp mod">
          <pc:chgData name="Carlos Deghi" userId="a6d5b842-f429-4d48-b81f-4727776bba98" providerId="ADAL" clId="{66C837D4-09E8-4709-BB50-6BA0E9FF5C79}" dt="2023-12-04T08:36:38.293" v="646" actId="1076"/>
          <pc:sldLayoutMkLst>
            <pc:docMk/>
            <pc:sldMasterMk cId="0" sldId="2147483648"/>
            <pc:sldLayoutMk cId="1200285679" sldId="2147483717"/>
          </pc:sldLayoutMkLst>
          <pc:spChg chg="mod">
            <ac:chgData name="Carlos Deghi" userId="a6d5b842-f429-4d48-b81f-4727776bba98" providerId="ADAL" clId="{66C837D4-09E8-4709-BB50-6BA0E9FF5C79}" dt="2023-12-04T08:30:01.259" v="613" actId="1076"/>
            <ac:spMkLst>
              <pc:docMk/>
              <pc:sldMasterMk cId="0" sldId="2147483648"/>
              <pc:sldLayoutMk cId="1200285679" sldId="2147483717"/>
              <ac:spMk id="10" creationId="{579AD3FF-2B03-4625-B1B0-835836E75B17}"/>
            </ac:spMkLst>
          </pc:spChg>
          <pc:spChg chg="mod">
            <ac:chgData name="Carlos Deghi" userId="a6d5b842-f429-4d48-b81f-4727776bba98" providerId="ADAL" clId="{66C837D4-09E8-4709-BB50-6BA0E9FF5C79}" dt="2023-12-04T08:36:38.293" v="646" actId="1076"/>
            <ac:spMkLst>
              <pc:docMk/>
              <pc:sldMasterMk cId="0" sldId="2147483648"/>
              <pc:sldLayoutMk cId="1200285679" sldId="2147483717"/>
              <ac:spMk id="16" creationId="{00000000-0000-0000-0000-000000000000}"/>
            </ac:spMkLst>
          </pc:spChg>
          <pc:grpChg chg="del">
            <ac:chgData name="Carlos Deghi" userId="a6d5b842-f429-4d48-b81f-4727776bba98" providerId="ADAL" clId="{66C837D4-09E8-4709-BB50-6BA0E9FF5C79}" dt="2023-12-04T08:24:24.718" v="584" actId="478"/>
            <ac:grpSpMkLst>
              <pc:docMk/>
              <pc:sldMasterMk cId="0" sldId="2147483648"/>
              <pc:sldLayoutMk cId="1200285679" sldId="2147483717"/>
              <ac:grpSpMk id="11" creationId="{2480DA77-435F-4161-9E2D-9596A6BE219F}"/>
            </ac:grpSpMkLst>
          </pc:grpChg>
        </pc:sldLayoutChg>
        <pc:sldLayoutChg chg="modSp mod">
          <pc:chgData name="Carlos Deghi" userId="a6d5b842-f429-4d48-b81f-4727776bba98" providerId="ADAL" clId="{66C837D4-09E8-4709-BB50-6BA0E9FF5C79}" dt="2023-12-04T08:11:10.692" v="520" actId="14100"/>
          <pc:sldLayoutMkLst>
            <pc:docMk/>
            <pc:sldMasterMk cId="0" sldId="2147483648"/>
            <pc:sldLayoutMk cId="3242278702" sldId="2147483752"/>
          </pc:sldLayoutMkLst>
          <pc:spChg chg="mod">
            <ac:chgData name="Carlos Deghi" userId="a6d5b842-f429-4d48-b81f-4727776bba98" providerId="ADAL" clId="{66C837D4-09E8-4709-BB50-6BA0E9FF5C79}" dt="2023-12-04T08:11:10.692" v="520" actId="14100"/>
            <ac:spMkLst>
              <pc:docMk/>
              <pc:sldMasterMk cId="0" sldId="2147483648"/>
              <pc:sldLayoutMk cId="3242278702" sldId="2147483752"/>
              <ac:spMk id="4" creationId="{00000000-0000-0000-0000-000000000000}"/>
            </ac:spMkLst>
          </pc:spChg>
        </pc:sldLayoutChg>
        <pc:sldLayoutChg chg="addSp delSp modSp mod">
          <pc:chgData name="Carlos Deghi" userId="a6d5b842-f429-4d48-b81f-4727776bba98" providerId="ADAL" clId="{66C837D4-09E8-4709-BB50-6BA0E9FF5C79}" dt="2023-12-04T08:23:57.977" v="583"/>
          <pc:sldLayoutMkLst>
            <pc:docMk/>
            <pc:sldMasterMk cId="0" sldId="2147483648"/>
            <pc:sldLayoutMk cId="205236143" sldId="2147483761"/>
          </pc:sldLayoutMkLst>
          <pc:spChg chg="mod">
            <ac:chgData name="Carlos Deghi" userId="a6d5b842-f429-4d48-b81f-4727776bba98" providerId="ADAL" clId="{66C837D4-09E8-4709-BB50-6BA0E9FF5C79}" dt="2023-12-04T08:23:57.977" v="583"/>
            <ac:spMkLst>
              <pc:docMk/>
              <pc:sldMasterMk cId="0" sldId="2147483648"/>
              <pc:sldLayoutMk cId="205236143" sldId="2147483761"/>
              <ac:spMk id="3" creationId="{6B33AD3C-B583-4B9C-E215-6E1A27E7C126}"/>
            </ac:spMkLst>
          </pc:spChg>
          <pc:spChg chg="mod">
            <ac:chgData name="Carlos Deghi" userId="a6d5b842-f429-4d48-b81f-4727776bba98" providerId="ADAL" clId="{66C837D4-09E8-4709-BB50-6BA0E9FF5C79}" dt="2023-12-04T08:23:57.977" v="583"/>
            <ac:spMkLst>
              <pc:docMk/>
              <pc:sldMasterMk cId="0" sldId="2147483648"/>
              <pc:sldLayoutMk cId="205236143" sldId="2147483761"/>
              <ac:spMk id="6" creationId="{ADDD57AB-C0CB-934C-AF7E-0EA44297DDC5}"/>
            </ac:spMkLst>
          </pc:spChg>
          <pc:spChg chg="mod">
            <ac:chgData name="Carlos Deghi" userId="a6d5b842-f429-4d48-b81f-4727776bba98" providerId="ADAL" clId="{66C837D4-09E8-4709-BB50-6BA0E9FF5C79}" dt="2023-12-04T08:23:57.977" v="583"/>
            <ac:spMkLst>
              <pc:docMk/>
              <pc:sldMasterMk cId="0" sldId="2147483648"/>
              <pc:sldLayoutMk cId="205236143" sldId="2147483761"/>
              <ac:spMk id="12" creationId="{CE903C89-EEC2-C456-B3D7-8F8D947C131A}"/>
            </ac:spMkLst>
          </pc:spChg>
          <pc:spChg chg="mod">
            <ac:chgData name="Carlos Deghi" userId="a6d5b842-f429-4d48-b81f-4727776bba98" providerId="ADAL" clId="{66C837D4-09E8-4709-BB50-6BA0E9FF5C79}" dt="2023-12-04T08:23:57.977" v="583"/>
            <ac:spMkLst>
              <pc:docMk/>
              <pc:sldMasterMk cId="0" sldId="2147483648"/>
              <pc:sldLayoutMk cId="205236143" sldId="2147483761"/>
              <ac:spMk id="13" creationId="{BE4A4A37-10D4-B7C8-85A2-DA41114904B2}"/>
            </ac:spMkLst>
          </pc:spChg>
          <pc:grpChg chg="add mod">
            <ac:chgData name="Carlos Deghi" userId="a6d5b842-f429-4d48-b81f-4727776bba98" providerId="ADAL" clId="{66C837D4-09E8-4709-BB50-6BA0E9FF5C79}" dt="2023-12-04T08:23:57.977" v="583"/>
            <ac:grpSpMkLst>
              <pc:docMk/>
              <pc:sldMasterMk cId="0" sldId="2147483648"/>
              <pc:sldLayoutMk cId="205236143" sldId="2147483761"/>
              <ac:grpSpMk id="2" creationId="{432CEE11-467D-D91E-E449-AFD04C159C5B}"/>
            </ac:grpSpMkLst>
          </pc:grpChg>
          <pc:grpChg chg="del">
            <ac:chgData name="Carlos Deghi" userId="a6d5b842-f429-4d48-b81f-4727776bba98" providerId="ADAL" clId="{66C837D4-09E8-4709-BB50-6BA0E9FF5C79}" dt="2023-12-04T08:23:56.459" v="582" actId="478"/>
            <ac:grpSpMkLst>
              <pc:docMk/>
              <pc:sldMasterMk cId="0" sldId="2147483648"/>
              <pc:sldLayoutMk cId="205236143" sldId="2147483761"/>
              <ac:grpSpMk id="7" creationId="{D23044B5-16B3-49BF-A691-7F3A75957CDE}"/>
            </ac:grpSpMkLst>
          </pc:grpChg>
        </pc:sldLayoutChg>
        <pc:sldLayoutChg chg="addSp delSp modSp mod">
          <pc:chgData name="Carlos Deghi" userId="a6d5b842-f429-4d48-b81f-4727776bba98" providerId="ADAL" clId="{66C837D4-09E8-4709-BB50-6BA0E9FF5C79}" dt="2023-12-04T08:23:45.013" v="581"/>
          <pc:sldLayoutMkLst>
            <pc:docMk/>
            <pc:sldMasterMk cId="0" sldId="2147483648"/>
            <pc:sldLayoutMk cId="292889339" sldId="2147483762"/>
          </pc:sldLayoutMkLst>
          <pc:spChg chg="mod">
            <ac:chgData name="Carlos Deghi" userId="a6d5b842-f429-4d48-b81f-4727776bba98" providerId="ADAL" clId="{66C837D4-09E8-4709-BB50-6BA0E9FF5C79}" dt="2023-12-04T08:23:45.013" v="581"/>
            <ac:spMkLst>
              <pc:docMk/>
              <pc:sldMasterMk cId="0" sldId="2147483648"/>
              <pc:sldLayoutMk cId="292889339" sldId="2147483762"/>
              <ac:spMk id="3" creationId="{AE75B00F-AB09-30C5-5492-F9C692213957}"/>
            </ac:spMkLst>
          </pc:spChg>
          <pc:spChg chg="mod">
            <ac:chgData name="Carlos Deghi" userId="a6d5b842-f429-4d48-b81f-4727776bba98" providerId="ADAL" clId="{66C837D4-09E8-4709-BB50-6BA0E9FF5C79}" dt="2023-12-04T08:23:45.013" v="581"/>
            <ac:spMkLst>
              <pc:docMk/>
              <pc:sldMasterMk cId="0" sldId="2147483648"/>
              <pc:sldLayoutMk cId="292889339" sldId="2147483762"/>
              <ac:spMk id="5" creationId="{785EC7C5-3828-6E6B-CB18-C3F8BE68FBD5}"/>
            </ac:spMkLst>
          </pc:spChg>
          <pc:spChg chg="mod">
            <ac:chgData name="Carlos Deghi" userId="a6d5b842-f429-4d48-b81f-4727776bba98" providerId="ADAL" clId="{66C837D4-09E8-4709-BB50-6BA0E9FF5C79}" dt="2023-12-04T08:23:45.013" v="581"/>
            <ac:spMkLst>
              <pc:docMk/>
              <pc:sldMasterMk cId="0" sldId="2147483648"/>
              <pc:sldLayoutMk cId="292889339" sldId="2147483762"/>
              <ac:spMk id="12" creationId="{2ACB2252-C44F-6632-F9C9-EBEB140E265C}"/>
            </ac:spMkLst>
          </pc:spChg>
          <pc:spChg chg="mod">
            <ac:chgData name="Carlos Deghi" userId="a6d5b842-f429-4d48-b81f-4727776bba98" providerId="ADAL" clId="{66C837D4-09E8-4709-BB50-6BA0E9FF5C79}" dt="2023-12-04T08:23:45.013" v="581"/>
            <ac:spMkLst>
              <pc:docMk/>
              <pc:sldMasterMk cId="0" sldId="2147483648"/>
              <pc:sldLayoutMk cId="292889339" sldId="2147483762"/>
              <ac:spMk id="13" creationId="{F9AE3492-AD04-C80B-6719-15E01DA378BA}"/>
            </ac:spMkLst>
          </pc:spChg>
          <pc:grpChg chg="add mod">
            <ac:chgData name="Carlos Deghi" userId="a6d5b842-f429-4d48-b81f-4727776bba98" providerId="ADAL" clId="{66C837D4-09E8-4709-BB50-6BA0E9FF5C79}" dt="2023-12-04T08:23:45.013" v="581"/>
            <ac:grpSpMkLst>
              <pc:docMk/>
              <pc:sldMasterMk cId="0" sldId="2147483648"/>
              <pc:sldLayoutMk cId="292889339" sldId="2147483762"/>
              <ac:grpSpMk id="2" creationId="{D4AD5B7E-9B94-473B-6217-FC3AF7445674}"/>
            </ac:grpSpMkLst>
          </pc:grpChg>
          <pc:grpChg chg="del">
            <ac:chgData name="Carlos Deghi" userId="a6d5b842-f429-4d48-b81f-4727776bba98" providerId="ADAL" clId="{66C837D4-09E8-4709-BB50-6BA0E9FF5C79}" dt="2023-12-04T08:23:42.311" v="580" actId="478"/>
            <ac:grpSpMkLst>
              <pc:docMk/>
              <pc:sldMasterMk cId="0" sldId="2147483648"/>
              <pc:sldLayoutMk cId="292889339" sldId="2147483762"/>
              <ac:grpSpMk id="7" creationId="{4A4BFB9C-3EB6-44D2-BDA1-6B6214C5C09F}"/>
            </ac:grpSpMkLst>
          </pc:grpChg>
        </pc:sldLayoutChg>
        <pc:sldLayoutChg chg="modSp mod">
          <pc:chgData name="Carlos Deghi" userId="a6d5b842-f429-4d48-b81f-4727776bba98" providerId="ADAL" clId="{66C837D4-09E8-4709-BB50-6BA0E9FF5C79}" dt="2023-12-04T08:30:43.193" v="618" actId="1076"/>
          <pc:sldLayoutMkLst>
            <pc:docMk/>
            <pc:sldMasterMk cId="0" sldId="2147483648"/>
            <pc:sldLayoutMk cId="2169274676" sldId="2147483763"/>
          </pc:sldLayoutMkLst>
          <pc:spChg chg="mod">
            <ac:chgData name="Carlos Deghi" userId="a6d5b842-f429-4d48-b81f-4727776bba98" providerId="ADAL" clId="{66C837D4-09E8-4709-BB50-6BA0E9FF5C79}" dt="2023-12-04T08:30:43.193" v="618" actId="1076"/>
            <ac:spMkLst>
              <pc:docMk/>
              <pc:sldMasterMk cId="0" sldId="2147483648"/>
              <pc:sldLayoutMk cId="2169274676" sldId="2147483763"/>
              <ac:spMk id="27" creationId="{AEA82AA2-27AD-4CD7-B55F-D95E47B62D79}"/>
            </ac:spMkLst>
          </pc:spChg>
        </pc:sldLayoutChg>
        <pc:sldLayoutChg chg="addSp modSp">
          <pc:chgData name="Carlos Deghi" userId="a6d5b842-f429-4d48-b81f-4727776bba98" providerId="ADAL" clId="{66C837D4-09E8-4709-BB50-6BA0E9FF5C79}" dt="2023-12-04T08:23:22.770" v="579"/>
          <pc:sldLayoutMkLst>
            <pc:docMk/>
            <pc:sldMasterMk cId="0" sldId="2147483648"/>
            <pc:sldLayoutMk cId="2857316797" sldId="2147483764"/>
          </pc:sldLayoutMkLst>
          <pc:spChg chg="mod">
            <ac:chgData name="Carlos Deghi" userId="a6d5b842-f429-4d48-b81f-4727776bba98" providerId="ADAL" clId="{66C837D4-09E8-4709-BB50-6BA0E9FF5C79}" dt="2023-12-04T08:23:22.770" v="579"/>
            <ac:spMkLst>
              <pc:docMk/>
              <pc:sldMasterMk cId="0" sldId="2147483648"/>
              <pc:sldLayoutMk cId="2857316797" sldId="2147483764"/>
              <ac:spMk id="4" creationId="{E851E627-7201-CDD9-BBCE-2BD986624459}"/>
            </ac:spMkLst>
          </pc:spChg>
          <pc:spChg chg="mod">
            <ac:chgData name="Carlos Deghi" userId="a6d5b842-f429-4d48-b81f-4727776bba98" providerId="ADAL" clId="{66C837D4-09E8-4709-BB50-6BA0E9FF5C79}" dt="2023-12-04T08:23:22.770" v="579"/>
            <ac:spMkLst>
              <pc:docMk/>
              <pc:sldMasterMk cId="0" sldId="2147483648"/>
              <pc:sldLayoutMk cId="2857316797" sldId="2147483764"/>
              <ac:spMk id="6" creationId="{2AC734FF-27A1-BA06-AF5E-AD7341221BDB}"/>
            </ac:spMkLst>
          </pc:spChg>
          <pc:spChg chg="mod">
            <ac:chgData name="Carlos Deghi" userId="a6d5b842-f429-4d48-b81f-4727776bba98" providerId="ADAL" clId="{66C837D4-09E8-4709-BB50-6BA0E9FF5C79}" dt="2023-12-04T08:23:22.770" v="579"/>
            <ac:spMkLst>
              <pc:docMk/>
              <pc:sldMasterMk cId="0" sldId="2147483648"/>
              <pc:sldLayoutMk cId="2857316797" sldId="2147483764"/>
              <ac:spMk id="7" creationId="{667AA708-5EB2-CB82-E0CA-41D03606B67E}"/>
            </ac:spMkLst>
          </pc:spChg>
          <pc:spChg chg="mod">
            <ac:chgData name="Carlos Deghi" userId="a6d5b842-f429-4d48-b81f-4727776bba98" providerId="ADAL" clId="{66C837D4-09E8-4709-BB50-6BA0E9FF5C79}" dt="2023-12-04T08:23:22.770" v="579"/>
            <ac:spMkLst>
              <pc:docMk/>
              <pc:sldMasterMk cId="0" sldId="2147483648"/>
              <pc:sldLayoutMk cId="2857316797" sldId="2147483764"/>
              <ac:spMk id="8" creationId="{592C1CA1-4B18-C10B-ECEA-257EAB7EFA4C}"/>
            </ac:spMkLst>
          </pc:spChg>
          <pc:grpChg chg="add mod">
            <ac:chgData name="Carlos Deghi" userId="a6d5b842-f429-4d48-b81f-4727776bba98" providerId="ADAL" clId="{66C837D4-09E8-4709-BB50-6BA0E9FF5C79}" dt="2023-12-04T08:23:22.770" v="579"/>
            <ac:grpSpMkLst>
              <pc:docMk/>
              <pc:sldMasterMk cId="0" sldId="2147483648"/>
              <pc:sldLayoutMk cId="2857316797" sldId="2147483764"/>
              <ac:grpSpMk id="2" creationId="{B195165B-9A7F-C5F3-5484-8829E1D04DA8}"/>
            </ac:grpSpMkLst>
          </pc:grpChg>
        </pc:sldLayoutChg>
        <pc:sldLayoutChg chg="addSp delSp modSp mod">
          <pc:chgData name="Carlos Deghi" userId="a6d5b842-f429-4d48-b81f-4727776bba98" providerId="ADAL" clId="{66C837D4-09E8-4709-BB50-6BA0E9FF5C79}" dt="2023-12-04T08:23:16.693" v="578"/>
          <pc:sldLayoutMkLst>
            <pc:docMk/>
            <pc:sldMasterMk cId="0" sldId="2147483648"/>
            <pc:sldLayoutMk cId="3439156499" sldId="2147483765"/>
          </pc:sldLayoutMkLst>
          <pc:spChg chg="mod">
            <ac:chgData name="Carlos Deghi" userId="a6d5b842-f429-4d48-b81f-4727776bba98" providerId="ADAL" clId="{66C837D4-09E8-4709-BB50-6BA0E9FF5C79}" dt="2023-12-04T08:06:38.475" v="428"/>
            <ac:spMkLst>
              <pc:docMk/>
              <pc:sldMasterMk cId="0" sldId="2147483648"/>
              <pc:sldLayoutMk cId="3439156499" sldId="2147483765"/>
              <ac:spMk id="4" creationId="{216F2EA1-0C90-5C35-184B-77857F5A6847}"/>
            </ac:spMkLst>
          </pc:spChg>
          <pc:spChg chg="mod">
            <ac:chgData name="Carlos Deghi" userId="a6d5b842-f429-4d48-b81f-4727776bba98" providerId="ADAL" clId="{66C837D4-09E8-4709-BB50-6BA0E9FF5C79}" dt="2023-12-04T08:06:38.475" v="428"/>
            <ac:spMkLst>
              <pc:docMk/>
              <pc:sldMasterMk cId="0" sldId="2147483648"/>
              <pc:sldLayoutMk cId="3439156499" sldId="2147483765"/>
              <ac:spMk id="5" creationId="{F3D8BD63-95F0-9B0D-5566-611728F16DA9}"/>
            </ac:spMkLst>
          </pc:spChg>
          <pc:spChg chg="mod">
            <ac:chgData name="Carlos Deghi" userId="a6d5b842-f429-4d48-b81f-4727776bba98" providerId="ADAL" clId="{66C837D4-09E8-4709-BB50-6BA0E9FF5C79}" dt="2023-12-04T08:06:38.475" v="428"/>
            <ac:spMkLst>
              <pc:docMk/>
              <pc:sldMasterMk cId="0" sldId="2147483648"/>
              <pc:sldLayoutMk cId="3439156499" sldId="2147483765"/>
              <ac:spMk id="12" creationId="{4907C102-2CBE-EF11-F58A-1FF566044ABB}"/>
            </ac:spMkLst>
          </pc:spChg>
          <pc:spChg chg="mod">
            <ac:chgData name="Carlos Deghi" userId="a6d5b842-f429-4d48-b81f-4727776bba98" providerId="ADAL" clId="{66C837D4-09E8-4709-BB50-6BA0E9FF5C79}" dt="2023-12-04T08:06:38.475" v="428"/>
            <ac:spMkLst>
              <pc:docMk/>
              <pc:sldMasterMk cId="0" sldId="2147483648"/>
              <pc:sldLayoutMk cId="3439156499" sldId="2147483765"/>
              <ac:spMk id="13" creationId="{6A43606C-D821-193C-7566-FEB10EB34E4B}"/>
            </ac:spMkLst>
          </pc:spChg>
          <pc:spChg chg="mod topLvl">
            <ac:chgData name="Carlos Deghi" userId="a6d5b842-f429-4d48-b81f-4727776bba98" providerId="ADAL" clId="{66C837D4-09E8-4709-BB50-6BA0E9FF5C79}" dt="2023-12-04T08:22:53.620" v="574" actId="338"/>
            <ac:spMkLst>
              <pc:docMk/>
              <pc:sldMasterMk cId="0" sldId="2147483648"/>
              <pc:sldLayoutMk cId="3439156499" sldId="2147483765"/>
              <ac:spMk id="15" creationId="{5CDE4730-9CED-578E-C49E-ECEA7393AF89}"/>
            </ac:spMkLst>
          </pc:spChg>
          <pc:spChg chg="mod topLvl">
            <ac:chgData name="Carlos Deghi" userId="a6d5b842-f429-4d48-b81f-4727776bba98" providerId="ADAL" clId="{66C837D4-09E8-4709-BB50-6BA0E9FF5C79}" dt="2023-12-04T08:22:53.620" v="574" actId="338"/>
            <ac:spMkLst>
              <pc:docMk/>
              <pc:sldMasterMk cId="0" sldId="2147483648"/>
              <pc:sldLayoutMk cId="3439156499" sldId="2147483765"/>
              <ac:spMk id="16" creationId="{F9D8210C-0E69-F2FB-190B-9CEA7EE8A774}"/>
            </ac:spMkLst>
          </pc:spChg>
          <pc:spChg chg="mod topLvl">
            <ac:chgData name="Carlos Deghi" userId="a6d5b842-f429-4d48-b81f-4727776bba98" providerId="ADAL" clId="{66C837D4-09E8-4709-BB50-6BA0E9FF5C79}" dt="2023-12-04T08:22:53.620" v="574" actId="338"/>
            <ac:spMkLst>
              <pc:docMk/>
              <pc:sldMasterMk cId="0" sldId="2147483648"/>
              <pc:sldLayoutMk cId="3439156499" sldId="2147483765"/>
              <ac:spMk id="17" creationId="{0E1350F8-EE4A-E136-C9A8-1E8591B0BA92}"/>
            </ac:spMkLst>
          </pc:spChg>
          <pc:spChg chg="mod topLvl">
            <ac:chgData name="Carlos Deghi" userId="a6d5b842-f429-4d48-b81f-4727776bba98" providerId="ADAL" clId="{66C837D4-09E8-4709-BB50-6BA0E9FF5C79}" dt="2023-12-04T08:22:53.620" v="574" actId="338"/>
            <ac:spMkLst>
              <pc:docMk/>
              <pc:sldMasterMk cId="0" sldId="2147483648"/>
              <pc:sldLayoutMk cId="3439156499" sldId="2147483765"/>
              <ac:spMk id="18" creationId="{D25400B7-809E-253A-C58E-3A13BDC9FD90}"/>
            </ac:spMkLst>
          </pc:spChg>
          <pc:spChg chg="mod">
            <ac:chgData name="Carlos Deghi" userId="a6d5b842-f429-4d48-b81f-4727776bba98" providerId="ADAL" clId="{66C837D4-09E8-4709-BB50-6BA0E9FF5C79}" dt="2023-12-04T08:23:16.693" v="578"/>
            <ac:spMkLst>
              <pc:docMk/>
              <pc:sldMasterMk cId="0" sldId="2147483648"/>
              <pc:sldLayoutMk cId="3439156499" sldId="2147483765"/>
              <ac:spMk id="22" creationId="{8ECADDF1-029A-8F9C-1A00-A80123294521}"/>
            </ac:spMkLst>
          </pc:spChg>
          <pc:spChg chg="mod">
            <ac:chgData name="Carlos Deghi" userId="a6d5b842-f429-4d48-b81f-4727776bba98" providerId="ADAL" clId="{66C837D4-09E8-4709-BB50-6BA0E9FF5C79}" dt="2023-12-04T08:23:16.693" v="578"/>
            <ac:spMkLst>
              <pc:docMk/>
              <pc:sldMasterMk cId="0" sldId="2147483648"/>
              <pc:sldLayoutMk cId="3439156499" sldId="2147483765"/>
              <ac:spMk id="23" creationId="{B37BCEA6-C2B0-968D-61D9-2CAF9515B09D}"/>
            </ac:spMkLst>
          </pc:spChg>
          <pc:spChg chg="mod">
            <ac:chgData name="Carlos Deghi" userId="a6d5b842-f429-4d48-b81f-4727776bba98" providerId="ADAL" clId="{66C837D4-09E8-4709-BB50-6BA0E9FF5C79}" dt="2023-12-04T08:23:16.693" v="578"/>
            <ac:spMkLst>
              <pc:docMk/>
              <pc:sldMasterMk cId="0" sldId="2147483648"/>
              <pc:sldLayoutMk cId="3439156499" sldId="2147483765"/>
              <ac:spMk id="24" creationId="{C05115A5-F21E-FD0A-6A7A-826CF54D73FE}"/>
            </ac:spMkLst>
          </pc:spChg>
          <pc:spChg chg="mod">
            <ac:chgData name="Carlos Deghi" userId="a6d5b842-f429-4d48-b81f-4727776bba98" providerId="ADAL" clId="{66C837D4-09E8-4709-BB50-6BA0E9FF5C79}" dt="2023-12-04T08:23:16.693" v="578"/>
            <ac:spMkLst>
              <pc:docMk/>
              <pc:sldMasterMk cId="0" sldId="2147483648"/>
              <pc:sldLayoutMk cId="3439156499" sldId="2147483765"/>
              <ac:spMk id="25" creationId="{4F3D6B96-0413-DE4E-8CB3-41EA2F65D304}"/>
            </ac:spMkLst>
          </pc:spChg>
          <pc:grpChg chg="add del mod">
            <ac:chgData name="Carlos Deghi" userId="a6d5b842-f429-4d48-b81f-4727776bba98" providerId="ADAL" clId="{66C837D4-09E8-4709-BB50-6BA0E9FF5C79}" dt="2023-12-04T08:21:12.493" v="571" actId="478"/>
            <ac:grpSpMkLst>
              <pc:docMk/>
              <pc:sldMasterMk cId="0" sldId="2147483648"/>
              <pc:sldLayoutMk cId="3439156499" sldId="2147483765"/>
              <ac:grpSpMk id="2" creationId="{E5609A98-4078-F0EF-9938-6C0E3411E0B1}"/>
            </ac:grpSpMkLst>
          </pc:grpChg>
          <pc:grpChg chg="del">
            <ac:chgData name="Carlos Deghi" userId="a6d5b842-f429-4d48-b81f-4727776bba98" providerId="ADAL" clId="{66C837D4-09E8-4709-BB50-6BA0E9FF5C79}" dt="2023-12-04T08:06:37.368" v="427" actId="478"/>
            <ac:grpSpMkLst>
              <pc:docMk/>
              <pc:sldMasterMk cId="0" sldId="2147483648"/>
              <pc:sldLayoutMk cId="3439156499" sldId="2147483765"/>
              <ac:grpSpMk id="7" creationId="{BCFD0B08-88C8-1275-0127-77633B712ED5}"/>
            </ac:grpSpMkLst>
          </pc:grpChg>
          <pc:grpChg chg="add del mod">
            <ac:chgData name="Carlos Deghi" userId="a6d5b842-f429-4d48-b81f-4727776bba98" providerId="ADAL" clId="{66C837D4-09E8-4709-BB50-6BA0E9FF5C79}" dt="2023-12-04T08:20:14.791" v="564" actId="165"/>
            <ac:grpSpMkLst>
              <pc:docMk/>
              <pc:sldMasterMk cId="0" sldId="2147483648"/>
              <pc:sldLayoutMk cId="3439156499" sldId="2147483765"/>
              <ac:grpSpMk id="14" creationId="{37FBC8FD-D4A3-7714-4B2D-FAF17E361FC6}"/>
            </ac:grpSpMkLst>
          </pc:grpChg>
          <pc:grpChg chg="add del mod">
            <ac:chgData name="Carlos Deghi" userId="a6d5b842-f429-4d48-b81f-4727776bba98" providerId="ADAL" clId="{66C837D4-09E8-4709-BB50-6BA0E9FF5C79}" dt="2023-12-04T08:22:11.550" v="573" actId="165"/>
            <ac:grpSpMkLst>
              <pc:docMk/>
              <pc:sldMasterMk cId="0" sldId="2147483648"/>
              <pc:sldLayoutMk cId="3439156499" sldId="2147483765"/>
              <ac:grpSpMk id="19" creationId="{2B57C22F-50CF-BF0A-ECFB-6E37175E3AD1}"/>
            </ac:grpSpMkLst>
          </pc:grpChg>
          <pc:grpChg chg="add del mod">
            <ac:chgData name="Carlos Deghi" userId="a6d5b842-f429-4d48-b81f-4727776bba98" providerId="ADAL" clId="{66C837D4-09E8-4709-BB50-6BA0E9FF5C79}" dt="2023-12-04T08:23:15.408" v="577" actId="478"/>
            <ac:grpSpMkLst>
              <pc:docMk/>
              <pc:sldMasterMk cId="0" sldId="2147483648"/>
              <pc:sldLayoutMk cId="3439156499" sldId="2147483765"/>
              <ac:grpSpMk id="20" creationId="{7862ECC0-4EC6-AC25-6393-17B60F49C510}"/>
            </ac:grpSpMkLst>
          </pc:grpChg>
          <pc:grpChg chg="add mod">
            <ac:chgData name="Carlos Deghi" userId="a6d5b842-f429-4d48-b81f-4727776bba98" providerId="ADAL" clId="{66C837D4-09E8-4709-BB50-6BA0E9FF5C79}" dt="2023-12-04T08:23:16.693" v="578"/>
            <ac:grpSpMkLst>
              <pc:docMk/>
              <pc:sldMasterMk cId="0" sldId="2147483648"/>
              <pc:sldLayoutMk cId="3439156499" sldId="2147483765"/>
              <ac:grpSpMk id="21" creationId="{908E98E1-1879-81CF-4300-3BFD6EFF2A97}"/>
            </ac:grpSpMkLst>
          </pc:grpChg>
        </pc:sldLayoutChg>
      </pc:sldMasterChg>
    </pc:docChg>
  </pc:docChgLst>
  <pc:docChgLst>
    <pc:chgData name="Rodrigo Pena" userId="S::rodrigo.pena@dgt-consultoria.com.br::4cbe5c2f-ed01-4f32-94fa-6891beed6677" providerId="AD" clId="Web-{5F9CB1FC-85F0-6917-9071-9626A6E0E0E8}"/>
    <pc:docChg chg="addSld delSld modSld sldOrd">
      <pc:chgData name="Rodrigo Pena" userId="S::rodrigo.pena@dgt-consultoria.com.br::4cbe5c2f-ed01-4f32-94fa-6891beed6677" providerId="AD" clId="Web-{5F9CB1FC-85F0-6917-9071-9626A6E0E0E8}" dt="2024-04-15T19:41:12.149" v="8"/>
      <pc:docMkLst>
        <pc:docMk/>
      </pc:docMkLst>
      <pc:sldChg chg="add del mod ord modShow">
        <pc:chgData name="Rodrigo Pena" userId="S::rodrigo.pena@dgt-consultoria.com.br::4cbe5c2f-ed01-4f32-94fa-6891beed6677" providerId="AD" clId="Web-{5F9CB1FC-85F0-6917-9071-9626A6E0E0E8}" dt="2024-04-15T19:41:07.524" v="7"/>
        <pc:sldMkLst>
          <pc:docMk/>
          <pc:sldMk cId="1025852481" sldId="3059"/>
        </pc:sldMkLst>
      </pc:sldChg>
      <pc:sldChg chg="del">
        <pc:chgData name="Rodrigo Pena" userId="S::rodrigo.pena@dgt-consultoria.com.br::4cbe5c2f-ed01-4f32-94fa-6891beed6677" providerId="AD" clId="Web-{5F9CB1FC-85F0-6917-9071-9626A6E0E0E8}" dt="2024-04-15T19:41:12.149" v="8"/>
        <pc:sldMkLst>
          <pc:docMk/>
          <pc:sldMk cId="1097626068" sldId="3067"/>
        </pc:sldMkLst>
      </pc:sldChg>
      <pc:sldChg chg="add del mod ord modShow">
        <pc:chgData name="Rodrigo Pena" userId="S::rodrigo.pena@dgt-consultoria.com.br::4cbe5c2f-ed01-4f32-94fa-6891beed6677" providerId="AD" clId="Web-{5F9CB1FC-85F0-6917-9071-9626A6E0E0E8}" dt="2024-04-15T19:41:07.524" v="6"/>
        <pc:sldMkLst>
          <pc:docMk/>
          <pc:sldMk cId="3473579636" sldId="3069"/>
        </pc:sldMkLst>
      </pc:sldChg>
    </pc:docChg>
  </pc:docChgLst>
  <pc:docChgLst>
    <pc:chgData name="Rodrigo Pena" userId="4cbe5c2f-ed01-4f32-94fa-6891beed6677" providerId="ADAL" clId="{46690607-42EE-4597-B6A2-D4B05B91DE45}"/>
    <pc:docChg chg="delSld">
      <pc:chgData name="Rodrigo Pena" userId="4cbe5c2f-ed01-4f32-94fa-6891beed6677" providerId="ADAL" clId="{46690607-42EE-4597-B6A2-D4B05B91DE45}" dt="2023-08-30T13:39:08.912" v="2" actId="47"/>
      <pc:docMkLst>
        <pc:docMk/>
      </pc:docMkLst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0" sldId="26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250617217" sldId="37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740908399" sldId="38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66487121" sldId="38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43264795" sldId="39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879588000" sldId="39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160833982" sldId="39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77529275" sldId="74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773741616" sldId="74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821646383" sldId="75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75813472" sldId="75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022711629" sldId="75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821702042" sldId="75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65086196" sldId="75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80934717" sldId="75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020794780" sldId="75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32566232" sldId="75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281646766" sldId="75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76545734" sldId="75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18079689" sldId="760"/>
        </pc:sldMkLst>
      </pc:sldChg>
      <pc:sldChg chg="del">
        <pc:chgData name="Rodrigo Pena" userId="4cbe5c2f-ed01-4f32-94fa-6891beed6677" providerId="ADAL" clId="{46690607-42EE-4597-B6A2-D4B05B91DE45}" dt="2023-08-30T13:38:43.092" v="1" actId="47"/>
        <pc:sldMkLst>
          <pc:docMk/>
          <pc:sldMk cId="3140341756" sldId="76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557614285" sldId="79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380457812" sldId="80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826627272" sldId="80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69825344" sldId="81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106557358" sldId="81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537109607" sldId="83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878521604" sldId="83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153291875" sldId="85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837320029" sldId="86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034842542" sldId="87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127098123" sldId="88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154939393" sldId="90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63354224" sldId="91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41350338" sldId="92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972484729" sldId="93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75001543" sldId="94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85832759" sldId="94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97689887" sldId="94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043394353" sldId="94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615437936" sldId="94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727474587" sldId="95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827751465" sldId="103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441453793" sldId="103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490321576" sldId="103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394552184" sldId="103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80517934" sldId="104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743669380" sldId="114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4680081" sldId="115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58118076" sldId="115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185313992" sldId="115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271760758" sldId="115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008683876" sldId="115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741112289" sldId="116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08426763" sldId="116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939615183" sldId="118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1614589" sldId="118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693847681" sldId="118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051749783" sldId="118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070417479" sldId="126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314794511" sldId="127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701409878" sldId="127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791368265" sldId="129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784115865" sldId="130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630953903" sldId="130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033032989" sldId="131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196838535" sldId="131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867071762" sldId="132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987753589" sldId="132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014208047" sldId="132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919722319" sldId="132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426049963" sldId="132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567069965" sldId="132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802192513" sldId="132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149577059" sldId="133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645860490" sldId="133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962924927" sldId="133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814126905" sldId="133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72216749" sldId="133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85218174" sldId="133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932987790" sldId="134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194600164" sldId="135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34647053" sldId="135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92139736" sldId="136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439858763" sldId="136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02536522" sldId="138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573335279" sldId="139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93214238" sldId="140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006768496" sldId="142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440030553" sldId="250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292871742" sldId="261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598921904" sldId="262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272764475" sldId="262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24365402" sldId="268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35169539" sldId="268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972217444" sldId="268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773284128" sldId="268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69037757" sldId="2689"/>
        </pc:sldMkLst>
      </pc:sldChg>
      <pc:sldChg chg="del">
        <pc:chgData name="Rodrigo Pena" userId="4cbe5c2f-ed01-4f32-94fa-6891beed6677" providerId="ADAL" clId="{46690607-42EE-4597-B6A2-D4B05B91DE45}" dt="2023-08-30T13:38:36.654" v="0" actId="47"/>
        <pc:sldMkLst>
          <pc:docMk/>
          <pc:sldMk cId="750167281" sldId="269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340775136" sldId="270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044933197" sldId="290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67298957" sldId="290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621315440" sldId="290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969165187" sldId="290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68480979" sldId="290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587937289" sldId="291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71638872" sldId="291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279701571" sldId="291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943374245" sldId="291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13692815" sldId="291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999074127" sldId="291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66479891" sldId="292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838709797" sldId="292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799797440" sldId="292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54643720" sldId="293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576670405" sldId="293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51698552" sldId="293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623964412" sldId="293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610567090" sldId="293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638611253" sldId="293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431277943" sldId="294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015780234" sldId="294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031338517" sldId="2942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738793270" sldId="294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924190625" sldId="294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094927792" sldId="294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566587400" sldId="294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850222144" sldId="294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070388856" sldId="294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016987164" sldId="2949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5559915" sldId="295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67017168" sldId="295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24774819" sldId="295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3190533681" sldId="2954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774106117" sldId="2955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71268381" sldId="2956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380291741" sldId="2957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221356454" sldId="2958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2156414922" sldId="2960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188516610" sldId="2961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4168315475" sldId="2963"/>
        </pc:sldMkLst>
      </pc:sldChg>
      <pc:sldChg chg="del">
        <pc:chgData name="Rodrigo Pena" userId="4cbe5c2f-ed01-4f32-94fa-6891beed6677" providerId="ADAL" clId="{46690607-42EE-4597-B6A2-D4B05B91DE45}" dt="2023-08-30T13:39:08.912" v="2" actId="47"/>
        <pc:sldMkLst>
          <pc:docMk/>
          <pc:sldMk cId="1514912086" sldId="2964"/>
        </pc:sldMkLst>
      </pc:sldChg>
      <pc:sldMasterChg chg="delSldLayout">
        <pc:chgData name="Rodrigo Pena" userId="4cbe5c2f-ed01-4f32-94fa-6891beed6677" providerId="ADAL" clId="{46690607-42EE-4597-B6A2-D4B05B91DE45}" dt="2023-08-30T13:39:08.912" v="2" actId="47"/>
        <pc:sldMasterMkLst>
          <pc:docMk/>
          <pc:sldMasterMk cId="0" sldId="2147483648"/>
        </pc:sldMasterMkLst>
        <pc:sldLayoutChg chg="del">
          <pc:chgData name="Rodrigo Pena" userId="4cbe5c2f-ed01-4f32-94fa-6891beed6677" providerId="ADAL" clId="{46690607-42EE-4597-B6A2-D4B05B91DE45}" dt="2023-08-30T13:39:08.912" v="2" actId="47"/>
          <pc:sldLayoutMkLst>
            <pc:docMk/>
            <pc:sldMasterMk cId="0" sldId="2147483648"/>
            <pc:sldLayoutMk cId="4276160037" sldId="2147483760"/>
          </pc:sldLayoutMkLst>
        </pc:sldLayoutChg>
      </pc:sldMasterChg>
    </pc:docChg>
  </pc:docChgLst>
  <pc:docChgLst>
    <pc:chgData name="Otavio Augusto Sabia Gava" userId="68ac195b-011b-467c-86d4-321df89323d0" providerId="ADAL" clId="{98617280-22FA-4145-89C0-1598C4D98378}"/>
    <pc:docChg chg="addSld delSld modSld">
      <pc:chgData name="Otavio Augusto Sabia Gava" userId="68ac195b-011b-467c-86d4-321df89323d0" providerId="ADAL" clId="{98617280-22FA-4145-89C0-1598C4D98378}" dt="2024-04-04T14:52:52.569" v="18" actId="729"/>
      <pc:docMkLst>
        <pc:docMk/>
      </pc:docMkLst>
      <pc:sldChg chg="addSp delSp modSp mod">
        <pc:chgData name="Otavio Augusto Sabia Gava" userId="68ac195b-011b-467c-86d4-321df89323d0" providerId="ADAL" clId="{98617280-22FA-4145-89C0-1598C4D98378}" dt="2024-04-04T14:40:47.584" v="14" actId="1037"/>
        <pc:sldMkLst>
          <pc:docMk/>
          <pc:sldMk cId="1966984107" sldId="3041"/>
        </pc:sldMkLst>
        <pc:graphicFrameChg chg="mod modGraphic">
          <ac:chgData name="Otavio Augusto Sabia Gava" userId="68ac195b-011b-467c-86d4-321df89323d0" providerId="ADAL" clId="{98617280-22FA-4145-89C0-1598C4D98378}" dt="2024-04-04T14:40:37.043" v="9"/>
          <ac:graphicFrameMkLst>
            <pc:docMk/>
            <pc:sldMk cId="1966984107" sldId="3041"/>
            <ac:graphicFrameMk id="43" creationId="{AC38E1DA-8CF7-744B-8E3B-85320FC8B541}"/>
          </ac:graphicFrameMkLst>
        </pc:graphicFrameChg>
        <pc:picChg chg="add mod">
          <ac:chgData name="Otavio Augusto Sabia Gava" userId="68ac195b-011b-467c-86d4-321df89323d0" providerId="ADAL" clId="{98617280-22FA-4145-89C0-1598C4D98378}" dt="2024-04-04T14:40:47.584" v="14" actId="1037"/>
          <ac:picMkLst>
            <pc:docMk/>
            <pc:sldMk cId="1966984107" sldId="3041"/>
            <ac:picMk id="2" creationId="{244FD041-1834-64B7-77AF-A9A0BD5B7902}"/>
          </ac:picMkLst>
        </pc:picChg>
        <pc:picChg chg="del">
          <ac:chgData name="Otavio Augusto Sabia Gava" userId="68ac195b-011b-467c-86d4-321df89323d0" providerId="ADAL" clId="{98617280-22FA-4145-89C0-1598C4D98378}" dt="2024-04-04T14:40:29.453" v="7" actId="478"/>
          <ac:picMkLst>
            <pc:docMk/>
            <pc:sldMk cId="1966984107" sldId="3041"/>
            <ac:picMk id="8" creationId="{4C772EE6-6110-E397-1BF3-D693F0CD4067}"/>
          </ac:picMkLst>
        </pc:picChg>
      </pc:sldChg>
      <pc:sldChg chg="del">
        <pc:chgData name="Otavio Augusto Sabia Gava" userId="68ac195b-011b-467c-86d4-321df89323d0" providerId="ADAL" clId="{98617280-22FA-4145-89C0-1598C4D98378}" dt="2024-04-04T14:41:14.527" v="15" actId="47"/>
        <pc:sldMkLst>
          <pc:docMk/>
          <pc:sldMk cId="3445586602" sldId="3052"/>
        </pc:sldMkLst>
      </pc:sldChg>
      <pc:sldChg chg="addSp delSp modSp add mod modShow">
        <pc:chgData name="Otavio Augusto Sabia Gava" userId="68ac195b-011b-467c-86d4-321df89323d0" providerId="ADAL" clId="{98617280-22FA-4145-89C0-1598C4D98378}" dt="2024-04-04T14:41:31.180" v="16" actId="729"/>
        <pc:sldMkLst>
          <pc:docMk/>
          <pc:sldMk cId="3309520820" sldId="3053"/>
        </pc:sldMkLst>
        <pc:graphicFrameChg chg="add">
          <ac:chgData name="Otavio Augusto Sabia Gava" userId="68ac195b-011b-467c-86d4-321df89323d0" providerId="ADAL" clId="{98617280-22FA-4145-89C0-1598C4D98378}" dt="2024-04-04T14:40:19.128" v="4"/>
          <ac:graphicFrameMkLst>
            <pc:docMk/>
            <pc:sldMk cId="3309520820" sldId="3053"/>
            <ac:graphicFrameMk id="5" creationId="{391E226F-C01D-CC3A-9063-4964B5946FE0}"/>
          </ac:graphicFrameMkLst>
        </pc:graphicFrameChg>
        <pc:graphicFrameChg chg="mod modGraphic">
          <ac:chgData name="Otavio Augusto Sabia Gava" userId="68ac195b-011b-467c-86d4-321df89323d0" providerId="ADAL" clId="{98617280-22FA-4145-89C0-1598C4D98378}" dt="2024-04-04T14:40:21.909" v="5"/>
          <ac:graphicFrameMkLst>
            <pc:docMk/>
            <pc:sldMk cId="3309520820" sldId="3053"/>
            <ac:graphicFrameMk id="43" creationId="{0BAE9FBF-FA36-C873-5E0C-12751264D2D8}"/>
          </ac:graphicFrameMkLst>
        </pc:graphicFrameChg>
        <pc:picChg chg="del">
          <ac:chgData name="Otavio Augusto Sabia Gava" userId="68ac195b-011b-467c-86d4-321df89323d0" providerId="ADAL" clId="{98617280-22FA-4145-89C0-1598C4D98378}" dt="2024-04-04T14:40:07.884" v="1" actId="478"/>
          <ac:picMkLst>
            <pc:docMk/>
            <pc:sldMk cId="3309520820" sldId="3053"/>
            <ac:picMk id="2" creationId="{4BDF9D6E-D429-C2FE-5C37-86F69E115519}"/>
          </ac:picMkLst>
        </pc:picChg>
        <pc:picChg chg="add mod">
          <ac:chgData name="Otavio Augusto Sabia Gava" userId="68ac195b-011b-467c-86d4-321df89323d0" providerId="ADAL" clId="{98617280-22FA-4145-89C0-1598C4D98378}" dt="2024-04-04T14:40:26.748" v="6"/>
          <ac:picMkLst>
            <pc:docMk/>
            <pc:sldMk cId="3309520820" sldId="3053"/>
            <ac:picMk id="7" creationId="{788C34CF-12A6-7441-E44A-0BC850E539CD}"/>
          </ac:picMkLst>
        </pc:picChg>
      </pc:sldChg>
      <pc:sldChg chg="add mod modShow">
        <pc:chgData name="Otavio Augusto Sabia Gava" userId="68ac195b-011b-467c-86d4-321df89323d0" providerId="ADAL" clId="{98617280-22FA-4145-89C0-1598C4D98378}" dt="2024-04-04T14:52:52.569" v="18" actId="729"/>
        <pc:sldMkLst>
          <pc:docMk/>
          <pc:sldMk cId="1919002689" sldId="3054"/>
        </pc:sldMkLst>
      </pc:sldChg>
    </pc:docChg>
  </pc:docChgLst>
  <pc:docChgLst>
    <pc:chgData name="Alessandra Ferreira" userId="075f8a09c157c569" providerId="LiveId" clId="{C88784AA-D72C-4B4F-9EFC-8DC470B16DE2}"/>
    <pc:docChg chg="undo custSel delSld modSld">
      <pc:chgData name="Alessandra Ferreira" userId="075f8a09c157c569" providerId="LiveId" clId="{C88784AA-D72C-4B4F-9EFC-8DC470B16DE2}" dt="2023-05-08T17:22:37.278" v="104" actId="2696"/>
      <pc:docMkLst>
        <pc:docMk/>
      </pc:docMkLst>
      <pc:sldChg chg="addSp delSp modSp mod">
        <pc:chgData name="Alessandra Ferreira" userId="075f8a09c157c569" providerId="LiveId" clId="{C88784AA-D72C-4B4F-9EFC-8DC470B16DE2}" dt="2023-05-08T17:10:08.886" v="16" actId="1076"/>
        <pc:sldMkLst>
          <pc:docMk/>
          <pc:sldMk cId="1632295276" sldId="360"/>
        </pc:sldMkLst>
        <pc:picChg chg="add mod">
          <ac:chgData name="Alessandra Ferreira" userId="075f8a09c157c569" providerId="LiveId" clId="{C88784AA-D72C-4B4F-9EFC-8DC470B16DE2}" dt="2023-05-08T17:10:08.886" v="16" actId="1076"/>
          <ac:picMkLst>
            <pc:docMk/>
            <pc:sldMk cId="1632295276" sldId="360"/>
            <ac:picMk id="3" creationId="{32A54C93-336F-CC1E-5D55-6491E8975995}"/>
          </ac:picMkLst>
        </pc:picChg>
        <pc:picChg chg="del">
          <ac:chgData name="Alessandra Ferreira" userId="075f8a09c157c569" providerId="LiveId" clId="{C88784AA-D72C-4B4F-9EFC-8DC470B16DE2}" dt="2023-05-08T17:06:36.643" v="10" actId="478"/>
          <ac:picMkLst>
            <pc:docMk/>
            <pc:sldMk cId="1632295276" sldId="360"/>
            <ac:picMk id="4" creationId="{DF1D73A7-96C5-42EA-A27F-FDF3A5B240E5}"/>
          </ac:picMkLst>
        </pc:picChg>
      </pc:sldChg>
      <pc:sldChg chg="addSp delSp modSp mod">
        <pc:chgData name="Alessandra Ferreira" userId="075f8a09c157c569" providerId="LiveId" clId="{C88784AA-D72C-4B4F-9EFC-8DC470B16DE2}" dt="2023-05-08T17:05:32.854" v="9" actId="1076"/>
        <pc:sldMkLst>
          <pc:docMk/>
          <pc:sldMk cId="186737072" sldId="382"/>
        </pc:sldMkLst>
        <pc:grpChg chg="mod">
          <ac:chgData name="Alessandra Ferreira" userId="075f8a09c157c569" providerId="LiveId" clId="{C88784AA-D72C-4B4F-9EFC-8DC470B16DE2}" dt="2023-05-08T17:04:43.767" v="1" actId="1076"/>
          <ac:grpSpMkLst>
            <pc:docMk/>
            <pc:sldMk cId="186737072" sldId="382"/>
            <ac:grpSpMk id="23" creationId="{F9572E4F-C3E1-4754-98C1-0ED66FF516B2}"/>
          </ac:grpSpMkLst>
        </pc:grpChg>
        <pc:picChg chg="add mod">
          <ac:chgData name="Alessandra Ferreira" userId="075f8a09c157c569" providerId="LiveId" clId="{C88784AA-D72C-4B4F-9EFC-8DC470B16DE2}" dt="2023-05-08T17:05:32.854" v="9" actId="1076"/>
          <ac:picMkLst>
            <pc:docMk/>
            <pc:sldMk cId="186737072" sldId="382"/>
            <ac:picMk id="3" creationId="{72062F1C-23D2-A9C0-6120-054A69E5F117}"/>
          </ac:picMkLst>
        </pc:picChg>
        <pc:picChg chg="del mod modCrop">
          <ac:chgData name="Alessandra Ferreira" userId="075f8a09c157c569" providerId="LiveId" clId="{C88784AA-D72C-4B4F-9EFC-8DC470B16DE2}" dt="2023-05-08T17:04:57.510" v="3" actId="478"/>
          <ac:picMkLst>
            <pc:docMk/>
            <pc:sldMk cId="186737072" sldId="382"/>
            <ac:picMk id="25" creationId="{9A8FF58B-4EFB-B336-E160-E0A9D986807C}"/>
          </ac:picMkLst>
        </pc:picChg>
        <pc:cxnChg chg="mod">
          <ac:chgData name="Alessandra Ferreira" userId="075f8a09c157c569" providerId="LiveId" clId="{C88784AA-D72C-4B4F-9EFC-8DC470B16DE2}" dt="2023-05-08T17:04:43.767" v="1" actId="1076"/>
          <ac:cxnSpMkLst>
            <pc:docMk/>
            <pc:sldMk cId="186737072" sldId="382"/>
            <ac:cxnSpMk id="39" creationId="{72C62A5C-ADA4-4C1F-89A8-90F90F2435C8}"/>
          </ac:cxnSpMkLst>
        </pc:cxnChg>
      </pc:sldChg>
      <pc:sldChg chg="addSp delSp">
        <pc:chgData name="Alessandra Ferreira" userId="075f8a09c157c569" providerId="LiveId" clId="{C88784AA-D72C-4B4F-9EFC-8DC470B16DE2}" dt="2023-05-08T17:13:38.007" v="32" actId="478"/>
        <pc:sldMkLst>
          <pc:docMk/>
          <pc:sldMk cId="477529275" sldId="744"/>
        </pc:sldMkLst>
        <pc:picChg chg="add del">
          <ac:chgData name="Alessandra Ferreira" userId="075f8a09c157c569" providerId="LiveId" clId="{C88784AA-D72C-4B4F-9EFC-8DC470B16DE2}" dt="2023-05-08T17:13:38.007" v="32" actId="478"/>
          <ac:picMkLst>
            <pc:docMk/>
            <pc:sldMk cId="477529275" sldId="744"/>
            <ac:picMk id="23" creationId="{C70BE211-9348-4A4A-8C0F-8F6B604FEDA9}"/>
          </ac:picMkLst>
        </pc:picChg>
      </pc:sldChg>
      <pc:sldChg chg="addSp delSp modSp mod">
        <pc:chgData name="Alessandra Ferreira" userId="075f8a09c157c569" providerId="LiveId" clId="{C88784AA-D72C-4B4F-9EFC-8DC470B16DE2}" dt="2023-05-08T17:15:01.787" v="35" actId="478"/>
        <pc:sldMkLst>
          <pc:docMk/>
          <pc:sldMk cId="1380457812" sldId="804"/>
        </pc:sldMkLst>
        <pc:picChg chg="add mod">
          <ac:chgData name="Alessandra Ferreira" userId="075f8a09c157c569" providerId="LiveId" clId="{C88784AA-D72C-4B4F-9EFC-8DC470B16DE2}" dt="2023-05-08T17:14:59.787" v="34"/>
          <ac:picMkLst>
            <pc:docMk/>
            <pc:sldMk cId="1380457812" sldId="804"/>
            <ac:picMk id="2" creationId="{75A6DB3F-C6C7-B6E5-A3AA-C6B533D8A091}"/>
          </ac:picMkLst>
        </pc:picChg>
        <pc:picChg chg="del">
          <ac:chgData name="Alessandra Ferreira" userId="075f8a09c157c569" providerId="LiveId" clId="{C88784AA-D72C-4B4F-9EFC-8DC470B16DE2}" dt="2023-05-08T17:15:01.787" v="35" actId="478"/>
          <ac:picMkLst>
            <pc:docMk/>
            <pc:sldMk cId="1380457812" sldId="804"/>
            <ac:picMk id="29" creationId="{5B807A7E-AB74-4556-9B16-A555FFA1234B}"/>
          </ac:picMkLst>
        </pc:picChg>
      </pc:sldChg>
      <pc:sldChg chg="addSp delSp modSp mod">
        <pc:chgData name="Alessandra Ferreira" userId="075f8a09c157c569" providerId="LiveId" clId="{C88784AA-D72C-4B4F-9EFC-8DC470B16DE2}" dt="2023-05-08T17:15:23.429" v="38"/>
        <pc:sldMkLst>
          <pc:docMk/>
          <pc:sldMk cId="1826627272" sldId="805"/>
        </pc:sldMkLst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2" creationId="{0F9E783B-9C47-EE7A-58D6-15F31566F27C}"/>
          </ac:spMkLst>
        </pc:spChg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3" creationId="{002AAD21-B73F-3F78-868C-80608FBC6E8C}"/>
          </ac:spMkLst>
        </pc:spChg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4" creationId="{B356D526-8E3C-F958-DBEC-14F244EB9ABE}"/>
          </ac:spMkLst>
        </pc:spChg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5" creationId="{83A814E8-489A-549C-F0F6-859CC50A47E5}"/>
          </ac:spMkLst>
        </pc:spChg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6" creationId="{419EA151-43C7-DA42-CA90-0637F74E6F40}"/>
          </ac:spMkLst>
        </pc:spChg>
        <pc:spChg chg="del">
          <ac:chgData name="Alessandra Ferreira" userId="075f8a09c157c569" providerId="LiveId" clId="{C88784AA-D72C-4B4F-9EFC-8DC470B16DE2}" dt="2023-05-08T17:15:15.652" v="36" actId="478"/>
          <ac:spMkLst>
            <pc:docMk/>
            <pc:sldMk cId="1826627272" sldId="805"/>
            <ac:spMk id="47" creationId="{6F42D756-9E99-C4EC-8FB5-CCF77889EC45}"/>
          </ac:spMkLst>
        </pc:spChg>
        <pc:picChg chg="add mod">
          <ac:chgData name="Alessandra Ferreira" userId="075f8a09c157c569" providerId="LiveId" clId="{C88784AA-D72C-4B4F-9EFC-8DC470B16DE2}" dt="2023-05-08T17:15:23.429" v="38"/>
          <ac:picMkLst>
            <pc:docMk/>
            <pc:sldMk cId="1826627272" sldId="805"/>
            <ac:picMk id="2" creationId="{6D8E9DDD-B65D-3542-F023-060C42E08564}"/>
          </ac:picMkLst>
        </pc:picChg>
        <pc:picChg chg="del">
          <ac:chgData name="Alessandra Ferreira" userId="075f8a09c157c569" providerId="LiveId" clId="{C88784AA-D72C-4B4F-9EFC-8DC470B16DE2}" dt="2023-05-08T17:15:17.317" v="37" actId="478"/>
          <ac:picMkLst>
            <pc:docMk/>
            <pc:sldMk cId="1826627272" sldId="805"/>
            <ac:picMk id="40" creationId="{B98D3069-1F01-42EE-B9F7-A09A211DA045}"/>
          </ac:picMkLst>
        </pc:picChg>
      </pc:sldChg>
      <pc:sldChg chg="addSp delSp modSp mod">
        <pc:chgData name="Alessandra Ferreira" userId="075f8a09c157c569" providerId="LiveId" clId="{C88784AA-D72C-4B4F-9EFC-8DC470B16DE2}" dt="2023-05-08T17:19:58.498" v="93" actId="1076"/>
        <pc:sldMkLst>
          <pc:docMk/>
          <pc:sldMk cId="1394552184" sldId="1039"/>
        </pc:sldMkLst>
        <pc:spChg chg="add mod">
          <ac:chgData name="Alessandra Ferreira" userId="075f8a09c157c569" providerId="LiveId" clId="{C88784AA-D72C-4B4F-9EFC-8DC470B16DE2}" dt="2023-05-08T17:19:33.644" v="90" actId="1076"/>
          <ac:spMkLst>
            <pc:docMk/>
            <pc:sldMk cId="1394552184" sldId="1039"/>
            <ac:spMk id="3" creationId="{E8994888-686F-7EC1-1EE4-5BCA3017673E}"/>
          </ac:spMkLst>
        </pc:spChg>
        <pc:spChg chg="mod">
          <ac:chgData name="Alessandra Ferreira" userId="075f8a09c157c569" providerId="LiveId" clId="{C88784AA-D72C-4B4F-9EFC-8DC470B16DE2}" dt="2023-05-08T17:19:58.498" v="93" actId="1076"/>
          <ac:spMkLst>
            <pc:docMk/>
            <pc:sldMk cId="1394552184" sldId="1039"/>
            <ac:spMk id="6" creationId="{2B21BEDA-23DE-4A68-96D6-FC0BFD7E72E0}"/>
          </ac:spMkLst>
        </pc:spChg>
        <pc:spChg chg="add mod">
          <ac:chgData name="Alessandra Ferreira" userId="075f8a09c157c569" providerId="LiveId" clId="{C88784AA-D72C-4B4F-9EFC-8DC470B16DE2}" dt="2023-05-08T17:19:33.644" v="90" actId="1076"/>
          <ac:spMkLst>
            <pc:docMk/>
            <pc:sldMk cId="1394552184" sldId="1039"/>
            <ac:spMk id="7" creationId="{8E0A0BFB-576A-8582-8B48-9717E713C2E5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12" creationId="{A5E35343-7037-74AD-BFC4-B60159893EE7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19" creationId="{08DEC415-1F77-BADC-C102-305BC0D69ACE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20" creationId="{34EE91FA-FE58-26AB-794B-44CEB997566A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21" creationId="{D0990EC3-3BAE-CF01-65A4-19D220826199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23" creationId="{CF2E200C-FF14-CFE3-6728-09BA303C4343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24" creationId="{C77AC40C-9D51-50E4-2B21-175375083E05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32" creationId="{5C304734-5935-8C41-6122-0F78ABF0DB94}"/>
          </ac:spMkLst>
        </pc:spChg>
        <pc:spChg chg="mod">
          <ac:chgData name="Alessandra Ferreira" userId="075f8a09c157c569" providerId="LiveId" clId="{C88784AA-D72C-4B4F-9EFC-8DC470B16DE2}" dt="2023-05-08T17:19:29.800" v="89"/>
          <ac:spMkLst>
            <pc:docMk/>
            <pc:sldMk cId="1394552184" sldId="1039"/>
            <ac:spMk id="33" creationId="{07633BF9-1F44-AE7E-D4CB-C55C3126DB25}"/>
          </ac:spMkLst>
        </pc:spChg>
        <pc:spChg chg="add mod">
          <ac:chgData name="Alessandra Ferreira" userId="075f8a09c157c569" providerId="LiveId" clId="{C88784AA-D72C-4B4F-9EFC-8DC470B16DE2}" dt="2023-05-08T17:19:33.644" v="90" actId="1076"/>
          <ac:spMkLst>
            <pc:docMk/>
            <pc:sldMk cId="1394552184" sldId="1039"/>
            <ac:spMk id="40" creationId="{6B1C7C3A-43A3-26F5-5076-C0DA3D009DFE}"/>
          </ac:spMkLst>
        </pc:spChg>
        <pc:grpChg chg="add mod">
          <ac:chgData name="Alessandra Ferreira" userId="075f8a09c157c569" providerId="LiveId" clId="{C88784AA-D72C-4B4F-9EFC-8DC470B16DE2}" dt="2023-05-08T17:19:33.644" v="90" actId="1076"/>
          <ac:grpSpMkLst>
            <pc:docMk/>
            <pc:sldMk cId="1394552184" sldId="1039"/>
            <ac:grpSpMk id="10" creationId="{B6DF818D-9D03-8BB9-7DE2-46B50B179A34}"/>
          </ac:grpSpMkLst>
        </pc:grpChg>
        <pc:grpChg chg="mod">
          <ac:chgData name="Alessandra Ferreira" userId="075f8a09c157c569" providerId="LiveId" clId="{C88784AA-D72C-4B4F-9EFC-8DC470B16DE2}" dt="2023-05-08T17:19:29.800" v="89"/>
          <ac:grpSpMkLst>
            <pc:docMk/>
            <pc:sldMk cId="1394552184" sldId="1039"/>
            <ac:grpSpMk id="11" creationId="{F4C9CD2D-D3F3-3D67-C06D-505D648273BC}"/>
          </ac:grpSpMkLst>
        </pc:grpChg>
        <pc:grpChg chg="add mod">
          <ac:chgData name="Alessandra Ferreira" userId="075f8a09c157c569" providerId="LiveId" clId="{C88784AA-D72C-4B4F-9EFC-8DC470B16DE2}" dt="2023-05-08T17:19:33.644" v="90" actId="1076"/>
          <ac:grpSpMkLst>
            <pc:docMk/>
            <pc:sldMk cId="1394552184" sldId="1039"/>
            <ac:grpSpMk id="22" creationId="{6B3CCC30-DC88-BFF5-FCAF-B2B29C418D76}"/>
          </ac:grpSpMkLst>
        </pc:grpChg>
        <pc:grpChg chg="add mod">
          <ac:chgData name="Alessandra Ferreira" userId="075f8a09c157c569" providerId="LiveId" clId="{C88784AA-D72C-4B4F-9EFC-8DC470B16DE2}" dt="2023-05-08T17:19:33.644" v="90" actId="1076"/>
          <ac:grpSpMkLst>
            <pc:docMk/>
            <pc:sldMk cId="1394552184" sldId="1039"/>
            <ac:grpSpMk id="31" creationId="{E5F04CA6-BE69-C636-3A3D-EADD4D8A9729}"/>
          </ac:grpSpMkLst>
        </pc:grpChg>
        <pc:grpChg chg="del">
          <ac:chgData name="Alessandra Ferreira" userId="075f8a09c157c569" providerId="LiveId" clId="{C88784AA-D72C-4B4F-9EFC-8DC470B16DE2}" dt="2023-05-08T17:19:28.919" v="88" actId="478"/>
          <ac:grpSpMkLst>
            <pc:docMk/>
            <pc:sldMk cId="1394552184" sldId="1039"/>
            <ac:grpSpMk id="77" creationId="{F56C0A6B-D30C-405D-B014-B9FA83AA9424}"/>
          </ac:grpSpMkLst>
        </pc:grpChg>
      </pc:sldChg>
      <pc:sldChg chg="addSp delSp modSp mod">
        <pc:chgData name="Alessandra Ferreira" userId="075f8a09c157c569" providerId="LiveId" clId="{C88784AA-D72C-4B4F-9EFC-8DC470B16DE2}" dt="2023-05-08T17:18:59.130" v="85"/>
        <pc:sldMkLst>
          <pc:docMk/>
          <pc:sldMk cId="3743669380" sldId="1149"/>
        </pc:sldMkLst>
        <pc:spChg chg="add del mod">
          <ac:chgData name="Alessandra Ferreira" userId="075f8a09c157c569" providerId="LiveId" clId="{C88784AA-D72C-4B4F-9EFC-8DC470B16DE2}" dt="2023-05-08T17:18:59.130" v="85"/>
          <ac:spMkLst>
            <pc:docMk/>
            <pc:sldMk cId="3743669380" sldId="1149"/>
            <ac:spMk id="3" creationId="{47373964-DAD7-A541-8A4F-43D832D8550D}"/>
          </ac:spMkLst>
        </pc:spChg>
        <pc:spChg chg="mod">
          <ac:chgData name="Alessandra Ferreira" userId="075f8a09c157c569" providerId="LiveId" clId="{C88784AA-D72C-4B4F-9EFC-8DC470B16DE2}" dt="2023-05-08T17:18:09.249" v="45" actId="1035"/>
          <ac:spMkLst>
            <pc:docMk/>
            <pc:sldMk cId="3743669380" sldId="1149"/>
            <ac:spMk id="107" creationId="{5522A6DF-5CDF-4AB1-913E-9D64988D1818}"/>
          </ac:spMkLst>
        </pc:spChg>
        <pc:spChg chg="mod topLvl">
          <ac:chgData name="Alessandra Ferreira" userId="075f8a09c157c569" providerId="LiveId" clId="{C88784AA-D72C-4B4F-9EFC-8DC470B16DE2}" dt="2023-05-08T17:18:52.852" v="82" actId="20577"/>
          <ac:spMkLst>
            <pc:docMk/>
            <pc:sldMk cId="3743669380" sldId="1149"/>
            <ac:spMk id="116" creationId="{F1DF5486-2491-497B-83D1-9A4A3C413E05}"/>
          </ac:spMkLst>
        </pc:spChg>
        <pc:spChg chg="mod topLvl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17" creationId="{5A347A30-8A10-469B-BDE6-F8FB03C4CC1F}"/>
          </ac:spMkLst>
        </pc:spChg>
        <pc:spChg chg="mod topLvl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1" creationId="{FEDBE768-47BE-4105-87B9-359F3BED3222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2" creationId="{A4BCFA78-251B-4EFA-B6F1-EA1165B15E61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3" creationId="{16BDF674-E9A5-47D8-8844-494245523E7C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4" creationId="{76BEC05A-1DE5-4F7B-B5D5-5D17538AD026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5" creationId="{1BE726B4-6FB1-4BB9-882E-63DBC42593DB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7" creationId="{9CFAB72F-E77B-474C-BFEF-0576A2813CAD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8" creationId="{D36B7DF8-FD89-40D3-801A-6BAC9ABFECD8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29" creationId="{BBA447D0-5F2C-4FC8-B37F-107E5FD8245F}"/>
          </ac:spMkLst>
        </pc:spChg>
        <pc:spChg chg="mod">
          <ac:chgData name="Alessandra Ferreira" userId="075f8a09c157c569" providerId="LiveId" clId="{C88784AA-D72C-4B4F-9EFC-8DC470B16DE2}" dt="2023-05-08T17:18:20.090" v="46" actId="165"/>
          <ac:spMkLst>
            <pc:docMk/>
            <pc:sldMk cId="3743669380" sldId="1149"/>
            <ac:spMk id="130" creationId="{502A3C3E-BAA6-434D-8F94-98226D5F26CB}"/>
          </ac:spMkLst>
        </pc:spChg>
        <pc:grpChg chg="del">
          <ac:chgData name="Alessandra Ferreira" userId="075f8a09c157c569" providerId="LiveId" clId="{C88784AA-D72C-4B4F-9EFC-8DC470B16DE2}" dt="2023-05-08T17:18:20.090" v="46" actId="165"/>
          <ac:grpSpMkLst>
            <pc:docMk/>
            <pc:sldMk cId="3743669380" sldId="1149"/>
            <ac:grpSpMk id="115" creationId="{A912FFA8-AE58-41C3-A20E-E62D00C4EB82}"/>
          </ac:grpSpMkLst>
        </pc:grpChg>
        <pc:grpChg chg="mod topLvl">
          <ac:chgData name="Alessandra Ferreira" userId="075f8a09c157c569" providerId="LiveId" clId="{C88784AA-D72C-4B4F-9EFC-8DC470B16DE2}" dt="2023-05-08T17:18:20.090" v="46" actId="165"/>
          <ac:grpSpMkLst>
            <pc:docMk/>
            <pc:sldMk cId="3743669380" sldId="1149"/>
            <ac:grpSpMk id="118" creationId="{FD0D5450-F746-43C6-A849-DA2CBE8ECC8C}"/>
          </ac:grpSpMkLst>
        </pc:grpChg>
        <pc:grpChg chg="mod topLvl">
          <ac:chgData name="Alessandra Ferreira" userId="075f8a09c157c569" providerId="LiveId" clId="{C88784AA-D72C-4B4F-9EFC-8DC470B16DE2}" dt="2023-05-08T17:18:20.090" v="46" actId="165"/>
          <ac:grpSpMkLst>
            <pc:docMk/>
            <pc:sldMk cId="3743669380" sldId="1149"/>
            <ac:grpSpMk id="119" creationId="{21F08B56-243D-44B9-A796-B49F4013F999}"/>
          </ac:grpSpMkLst>
        </pc:grpChg>
        <pc:grpChg chg="mod topLvl">
          <ac:chgData name="Alessandra Ferreira" userId="075f8a09c157c569" providerId="LiveId" clId="{C88784AA-D72C-4B4F-9EFC-8DC470B16DE2}" dt="2023-05-08T17:18:20.090" v="46" actId="165"/>
          <ac:grpSpMkLst>
            <pc:docMk/>
            <pc:sldMk cId="3743669380" sldId="1149"/>
            <ac:grpSpMk id="120" creationId="{9612411E-FE31-418C-99B4-245F3949CD28}"/>
          </ac:grpSpMkLst>
        </pc:grpChg>
        <pc:grpChg chg="mod">
          <ac:chgData name="Alessandra Ferreira" userId="075f8a09c157c569" providerId="LiveId" clId="{C88784AA-D72C-4B4F-9EFC-8DC470B16DE2}" dt="2023-05-08T17:18:20.090" v="46" actId="165"/>
          <ac:grpSpMkLst>
            <pc:docMk/>
            <pc:sldMk cId="3743669380" sldId="1149"/>
            <ac:grpSpMk id="126" creationId="{4471A966-ADD1-4A5E-B745-E9F92703FB8D}"/>
          </ac:grpSpMkLst>
        </pc:grpChg>
      </pc:sldChg>
      <pc:sldChg chg="modSp mod">
        <pc:chgData name="Alessandra Ferreira" userId="075f8a09c157c569" providerId="LiveId" clId="{C88784AA-D72C-4B4F-9EFC-8DC470B16DE2}" dt="2023-05-08T17:19:09.064" v="87" actId="20577"/>
        <pc:sldMkLst>
          <pc:docMk/>
          <pc:sldMk cId="124680081" sldId="1150"/>
        </pc:sldMkLst>
        <pc:spChg chg="mod">
          <ac:chgData name="Alessandra Ferreira" userId="075f8a09c157c569" providerId="LiveId" clId="{C88784AA-D72C-4B4F-9EFC-8DC470B16DE2}" dt="2023-05-08T17:19:09.064" v="87" actId="20577"/>
          <ac:spMkLst>
            <pc:docMk/>
            <pc:sldMk cId="124680081" sldId="1150"/>
            <ac:spMk id="2" creationId="{855A2FB7-67C2-4E77-BF39-AACC92DCF2EA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11" creationId="{00000000-0000-0000-0000-000000000000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12" creationId="{00000000-0000-0000-0000-000000000000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18" creationId="{00000000-0000-0000-0000-000000000000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39" creationId="{42D4F67A-9446-417E-BB8F-C664AE736DC1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40" creationId="{A5C84F0A-2E34-4CFC-96F3-11F4DFDFCCD8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41" creationId="{55EE398C-D2AF-4B65-824E-E0D99BCAA860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81" creationId="{BDD36493-3FD9-4B03-B00C-A70622723BA7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82" creationId="{45EE758E-BE2A-4C3E-9097-14FE7E9D314A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83" creationId="{98CD598A-788A-43C3-A60C-399ABC1B8DF4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87" creationId="{BAF524C5-CB85-4666-9D62-08216B3EC16A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89" creationId="{1594F2AA-4FA4-4CD3-96BA-944D01B7987F}"/>
          </ac:spMkLst>
        </pc:spChg>
        <pc:spChg chg="mod">
          <ac:chgData name="Alessandra Ferreira" userId="075f8a09c157c569" providerId="LiveId" clId="{C88784AA-D72C-4B4F-9EFC-8DC470B16DE2}" dt="2023-05-08T17:19:05.171" v="86" actId="1076"/>
          <ac:spMkLst>
            <pc:docMk/>
            <pc:sldMk cId="124680081" sldId="1150"/>
            <ac:spMk id="95" creationId="{FC2437EC-36D8-46DC-B0DE-97191B20F1CF}"/>
          </ac:spMkLst>
        </pc:spChg>
        <pc:grpChg chg="mod">
          <ac:chgData name="Alessandra Ferreira" userId="075f8a09c157c569" providerId="LiveId" clId="{C88784AA-D72C-4B4F-9EFC-8DC470B16DE2}" dt="2023-05-08T17:19:05.171" v="86" actId="1076"/>
          <ac:grpSpMkLst>
            <pc:docMk/>
            <pc:sldMk cId="124680081" sldId="1150"/>
            <ac:grpSpMk id="7" creationId="{21B58C29-0D26-4B0B-81B0-27E4930A8C64}"/>
          </ac:grpSpMkLst>
        </pc:grp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04" creationId="{33B4FA71-C223-4D26-AA39-DFA67F00B3A9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06" creationId="{FEC3EFBD-0D60-40D2-BECE-9EF127DEA948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07" creationId="{36886E86-60E3-40FD-BBB6-2F587878A4C9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08" creationId="{BAB79F7B-CCB5-45F6-A7A9-8D9E6AD9A41C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09" creationId="{DDCB6C31-D3A4-46A0-A763-883C0134421C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10" creationId="{F64EB93E-59E1-4EA8-A8D4-7ADFF22C0456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11" creationId="{8EB75A85-2AD1-460E-A4A4-4B7B3992EA99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12" creationId="{6965F72C-2114-4140-A726-18A513A6DEF5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13" creationId="{C2C3648C-2632-4D77-A9E9-3269349FC8BF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14" creationId="{BB12BBCE-7715-47F3-979C-0BDC8EEB98D4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34" creationId="{0874250D-2F4D-46CC-83AD-A984CE3ECDF1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36" creationId="{4C7DB6CA-4853-4C3B-9489-F57BBDD90E8A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38" creationId="{94EEA7EE-72E9-472D-8D57-96BD69762429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40" creationId="{DBE18247-0411-4CB3-9F5D-11D72D08EB03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42" creationId="{049D4C9F-FC69-409B-B6E1-94E1531B44E2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50" creationId="{FAA81C2C-B798-49AA-B4AE-594499C6A208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52" creationId="{E7A5D83D-ED92-4080-A8A8-4712C263DA2B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54" creationId="{2F18A5A4-06AC-4883-9B6D-EC9DD664DC12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56" creationId="{F9425DBB-AAB0-47DA-A0DF-01193355C3EE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58" creationId="{AD9ECE05-E0C9-4327-A07D-DD4515A4AC6B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60" creationId="{FC8B9C6A-10E1-4DF8-AB0F-52BC04B120F2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64" creationId="{F87A5DDF-FAA2-42F4-8F91-216534129C1D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66" creationId="{553B8731-2EC6-4323-A407-E8817849A96D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68" creationId="{545AB723-95E7-45BD-80BB-A1A7C88145C3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70" creationId="{73D47D3A-4041-4AAF-8AF6-C56BA2A3A074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72" creationId="{EA1CE678-117A-4CC1-BFD1-16769E839AE0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74" creationId="{902DAB79-37EF-442B-81AD-6929CEED139B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78" creationId="{803089AB-F056-4DF5-ADA2-47A8053645B1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80" creationId="{33B2297F-6D67-4D24-820C-58775E1FED08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82" creationId="{1DDBD876-731B-40D8-93A2-BFA2120E1774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86" creationId="{B5CF324A-852E-45D9-818D-C1E6109A405F}"/>
          </ac:picMkLst>
        </pc:picChg>
        <pc:picChg chg="mod">
          <ac:chgData name="Alessandra Ferreira" userId="075f8a09c157c569" providerId="LiveId" clId="{C88784AA-D72C-4B4F-9EFC-8DC470B16DE2}" dt="2023-05-08T17:19:05.171" v="86" actId="1076"/>
          <ac:picMkLst>
            <pc:docMk/>
            <pc:sldMk cId="124680081" sldId="1150"/>
            <ac:picMk id="18488" creationId="{655E36E7-EB1D-4BFD-BFE1-6F95C53A7216}"/>
          </ac:picMkLst>
        </pc:picChg>
      </pc:sldChg>
      <pc:sldChg chg="modSp mod">
        <pc:chgData name="Alessandra Ferreira" userId="075f8a09c157c569" providerId="LiveId" clId="{C88784AA-D72C-4B4F-9EFC-8DC470B16DE2}" dt="2023-05-08T17:16:20.562" v="39" actId="14100"/>
        <pc:sldMkLst>
          <pc:docMk/>
          <pc:sldMk cId="3784115865" sldId="1301"/>
        </pc:sldMkLst>
        <pc:spChg chg="mod">
          <ac:chgData name="Alessandra Ferreira" userId="075f8a09c157c569" providerId="LiveId" clId="{C88784AA-D72C-4B4F-9EFC-8DC470B16DE2}" dt="2023-05-08T17:16:20.562" v="39" actId="14100"/>
          <ac:spMkLst>
            <pc:docMk/>
            <pc:sldMk cId="3784115865" sldId="1301"/>
            <ac:spMk id="14" creationId="{44EB7F08-DC11-4DFA-8145-51CBAEB1D775}"/>
          </ac:spMkLst>
        </pc:spChg>
      </pc:sldChg>
      <pc:sldChg chg="delSp modSp mod">
        <pc:chgData name="Alessandra Ferreira" userId="075f8a09c157c569" providerId="LiveId" clId="{C88784AA-D72C-4B4F-9EFC-8DC470B16DE2}" dt="2023-05-08T17:12:04.066" v="29" actId="207"/>
        <pc:sldMkLst>
          <pc:docMk/>
          <pc:sldMk cId="2439858763" sldId="1368"/>
        </pc:sldMkLst>
        <pc:spChg chg="mod">
          <ac:chgData name="Alessandra Ferreira" userId="075f8a09c157c569" providerId="LiveId" clId="{C88784AA-D72C-4B4F-9EFC-8DC470B16DE2}" dt="2023-05-08T17:11:31.232" v="21" actId="207"/>
          <ac:spMkLst>
            <pc:docMk/>
            <pc:sldMk cId="2439858763" sldId="1368"/>
            <ac:spMk id="14" creationId="{8D3A7F76-2A10-C42F-D0B2-D5DF52892126}"/>
          </ac:spMkLst>
        </pc:spChg>
        <pc:spChg chg="mod">
          <ac:chgData name="Alessandra Ferreira" userId="075f8a09c157c569" providerId="LiveId" clId="{C88784AA-D72C-4B4F-9EFC-8DC470B16DE2}" dt="2023-05-08T17:11:51.307" v="25" actId="207"/>
          <ac:spMkLst>
            <pc:docMk/>
            <pc:sldMk cId="2439858763" sldId="1368"/>
            <ac:spMk id="15" creationId="{8F46DE12-8F37-B89B-C823-34594845BFBD}"/>
          </ac:spMkLst>
        </pc:spChg>
        <pc:spChg chg="mod">
          <ac:chgData name="Alessandra Ferreira" userId="075f8a09c157c569" providerId="LiveId" clId="{C88784AA-D72C-4B4F-9EFC-8DC470B16DE2}" dt="2023-05-08T17:12:04.066" v="29" actId="207"/>
          <ac:spMkLst>
            <pc:docMk/>
            <pc:sldMk cId="2439858763" sldId="1368"/>
            <ac:spMk id="16" creationId="{1F70CAC0-818A-B2A3-29C4-EFCF854D1171}"/>
          </ac:spMkLst>
        </pc:spChg>
        <pc:spChg chg="del mod">
          <ac:chgData name="Alessandra Ferreira" userId="075f8a09c157c569" providerId="LiveId" clId="{C88784AA-D72C-4B4F-9EFC-8DC470B16DE2}" dt="2023-05-08T17:10:34.007" v="18" actId="478"/>
          <ac:spMkLst>
            <pc:docMk/>
            <pc:sldMk cId="2439858763" sldId="1368"/>
            <ac:spMk id="33" creationId="{4C06992C-0AA3-42B5-BDE8-30533D7EE83C}"/>
          </ac:spMkLst>
        </pc:spChg>
      </pc:sldChg>
      <pc:sldChg chg="delSp mod">
        <pc:chgData name="Alessandra Ferreira" userId="075f8a09c157c569" providerId="LiveId" clId="{C88784AA-D72C-4B4F-9EFC-8DC470B16DE2}" dt="2023-05-08T17:12:27.620" v="30" actId="478"/>
        <pc:sldMkLst>
          <pc:docMk/>
          <pc:sldMk cId="1769037757" sldId="2689"/>
        </pc:sldMkLst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34" creationId="{D2529556-73CF-8B51-0CD7-375A9C711D57}"/>
          </ac:spMkLst>
        </pc:spChg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36" creationId="{FFA1976D-68C4-A17A-624F-1D03E3FAE7CE}"/>
          </ac:spMkLst>
        </pc:spChg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38" creationId="{3101EDAB-3DC3-1D22-5316-AC401F36D8C4}"/>
          </ac:spMkLst>
        </pc:spChg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40" creationId="{0F030206-2AC8-E5F6-8F53-2725DD315DB5}"/>
          </ac:spMkLst>
        </pc:spChg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41" creationId="{96F244EA-7C29-95D2-FDEC-F9312A10EA13}"/>
          </ac:spMkLst>
        </pc:spChg>
        <pc:spChg chg="del">
          <ac:chgData name="Alessandra Ferreira" userId="075f8a09c157c569" providerId="LiveId" clId="{C88784AA-D72C-4B4F-9EFC-8DC470B16DE2}" dt="2023-05-08T17:12:27.620" v="30" actId="478"/>
          <ac:spMkLst>
            <pc:docMk/>
            <pc:sldMk cId="1769037757" sldId="2689"/>
            <ac:spMk id="43" creationId="{2AB598CC-793E-CB3D-7BC7-FA2443AE5F8B}"/>
          </ac:spMkLst>
        </pc:spChg>
      </pc:sldChg>
      <pc:sldChg chg="del">
        <pc:chgData name="Alessandra Ferreira" userId="075f8a09c157c569" providerId="LiveId" clId="{C88784AA-D72C-4B4F-9EFC-8DC470B16DE2}" dt="2023-05-08T17:20:39.970" v="94" actId="2696"/>
        <pc:sldMkLst>
          <pc:docMk/>
          <pc:sldMk cId="2281637860" sldId="2929"/>
        </pc:sldMkLst>
      </pc:sldChg>
      <pc:sldMasterChg chg="delSldLayout">
        <pc:chgData name="Alessandra Ferreira" userId="075f8a09c157c569" providerId="LiveId" clId="{C88784AA-D72C-4B4F-9EFC-8DC470B16DE2}" dt="2023-05-08T17:22:37.278" v="104" actId="2696"/>
        <pc:sldMasterMkLst>
          <pc:docMk/>
          <pc:sldMasterMk cId="0" sldId="2147483648"/>
        </pc:sldMasterMkLst>
        <pc:sldLayoutChg chg="del">
          <pc:chgData name="Alessandra Ferreira" userId="075f8a09c157c569" providerId="LiveId" clId="{C88784AA-D72C-4B4F-9EFC-8DC470B16DE2}" dt="2023-05-08T17:22:28.868" v="99" actId="2696"/>
          <pc:sldLayoutMkLst>
            <pc:docMk/>
            <pc:sldMasterMk cId="0" sldId="2147483648"/>
            <pc:sldLayoutMk cId="236510875" sldId="2147483679"/>
          </pc:sldLayoutMkLst>
        </pc:sldLayoutChg>
        <pc:sldLayoutChg chg="del">
          <pc:chgData name="Alessandra Ferreira" userId="075f8a09c157c569" providerId="LiveId" clId="{C88784AA-D72C-4B4F-9EFC-8DC470B16DE2}" dt="2023-05-08T17:22:34.046" v="101" actId="2696"/>
          <pc:sldLayoutMkLst>
            <pc:docMk/>
            <pc:sldMasterMk cId="0" sldId="2147483648"/>
            <pc:sldLayoutMk cId="3272647120" sldId="2147483681"/>
          </pc:sldLayoutMkLst>
        </pc:sldLayoutChg>
        <pc:sldLayoutChg chg="del">
          <pc:chgData name="Alessandra Ferreira" userId="075f8a09c157c569" providerId="LiveId" clId="{C88784AA-D72C-4B4F-9EFC-8DC470B16DE2}" dt="2023-05-08T17:22:36.401" v="103" actId="2696"/>
          <pc:sldLayoutMkLst>
            <pc:docMk/>
            <pc:sldMasterMk cId="0" sldId="2147483648"/>
            <pc:sldLayoutMk cId="1829702940" sldId="2147483699"/>
          </pc:sldLayoutMkLst>
        </pc:sldLayoutChg>
        <pc:sldLayoutChg chg="del">
          <pc:chgData name="Alessandra Ferreira" userId="075f8a09c157c569" providerId="LiveId" clId="{C88784AA-D72C-4B4F-9EFC-8DC470B16DE2}" dt="2023-05-08T17:22:30.169" v="100" actId="2696"/>
          <pc:sldLayoutMkLst>
            <pc:docMk/>
            <pc:sldMasterMk cId="0" sldId="2147483648"/>
            <pc:sldLayoutMk cId="463979046" sldId="2147483712"/>
          </pc:sldLayoutMkLst>
        </pc:sldLayoutChg>
        <pc:sldLayoutChg chg="del">
          <pc:chgData name="Alessandra Ferreira" userId="075f8a09c157c569" providerId="LiveId" clId="{C88784AA-D72C-4B4F-9EFC-8DC470B16DE2}" dt="2023-05-08T17:22:24.627" v="98" actId="2696"/>
          <pc:sldLayoutMkLst>
            <pc:docMk/>
            <pc:sldMasterMk cId="0" sldId="2147483648"/>
            <pc:sldLayoutMk cId="2879515099" sldId="2147483713"/>
          </pc:sldLayoutMkLst>
        </pc:sldLayoutChg>
        <pc:sldLayoutChg chg="del">
          <pc:chgData name="Alessandra Ferreira" userId="075f8a09c157c569" providerId="LiveId" clId="{C88784AA-D72C-4B4F-9EFC-8DC470B16DE2}" dt="2023-05-08T17:22:37.278" v="104" actId="2696"/>
          <pc:sldLayoutMkLst>
            <pc:docMk/>
            <pc:sldMasterMk cId="0" sldId="2147483648"/>
            <pc:sldLayoutMk cId="2215081642" sldId="2147483714"/>
          </pc:sldLayoutMkLst>
        </pc:sldLayoutChg>
        <pc:sldLayoutChg chg="del">
          <pc:chgData name="Alessandra Ferreira" userId="075f8a09c157c569" providerId="LiveId" clId="{C88784AA-D72C-4B4F-9EFC-8DC470B16DE2}" dt="2023-05-08T17:22:35.080" v="102" actId="2696"/>
          <pc:sldLayoutMkLst>
            <pc:docMk/>
            <pc:sldMasterMk cId="0" sldId="2147483648"/>
            <pc:sldLayoutMk cId="412778938" sldId="2147483735"/>
          </pc:sldLayoutMkLst>
        </pc:sldLayoutChg>
        <pc:sldLayoutChg chg="del">
          <pc:chgData name="Alessandra Ferreira" userId="075f8a09c157c569" providerId="LiveId" clId="{C88784AA-D72C-4B4F-9EFC-8DC470B16DE2}" dt="2023-05-08T17:22:21.754" v="96" actId="2696"/>
          <pc:sldLayoutMkLst>
            <pc:docMk/>
            <pc:sldMasterMk cId="0" sldId="2147483648"/>
            <pc:sldLayoutMk cId="1212220219" sldId="2147483755"/>
          </pc:sldLayoutMkLst>
        </pc:sldLayoutChg>
        <pc:sldLayoutChg chg="del">
          <pc:chgData name="Alessandra Ferreira" userId="075f8a09c157c569" providerId="LiveId" clId="{C88784AA-D72C-4B4F-9EFC-8DC470B16DE2}" dt="2023-05-08T17:22:23.258" v="97" actId="2696"/>
          <pc:sldLayoutMkLst>
            <pc:docMk/>
            <pc:sldMasterMk cId="0" sldId="2147483648"/>
            <pc:sldLayoutMk cId="527611538" sldId="2147483756"/>
          </pc:sldLayoutMkLst>
        </pc:sldLayoutChg>
        <pc:sldLayoutChg chg="del">
          <pc:chgData name="Alessandra Ferreira" userId="075f8a09c157c569" providerId="LiveId" clId="{C88784AA-D72C-4B4F-9EFC-8DC470B16DE2}" dt="2023-05-08T17:22:20.022" v="95" actId="2696"/>
          <pc:sldLayoutMkLst>
            <pc:docMk/>
            <pc:sldMasterMk cId="0" sldId="2147483648"/>
            <pc:sldLayoutMk cId="4107284884" sldId="2147483759"/>
          </pc:sldLayoutMkLst>
        </pc:sldLayoutChg>
      </pc:sldMasterChg>
    </pc:docChg>
  </pc:docChgLst>
  <pc:docChgLst>
    <pc:chgData name="José S. Moscati" userId="S::jsmoscati@dgt-consultoria.com.br::1fa2a6db-a964-4583-a7c8-358080b59f0b" providerId="AD" clId="Web-{03C7099A-DC47-111B-20AB-68D785840ADA}"/>
    <pc:docChg chg="modSld">
      <pc:chgData name="José S. Moscati" userId="S::jsmoscati@dgt-consultoria.com.br::1fa2a6db-a964-4583-a7c8-358080b59f0b" providerId="AD" clId="Web-{03C7099A-DC47-111B-20AB-68D785840ADA}" dt="2023-05-26T19:19:03.116" v="6" actId="20577"/>
      <pc:docMkLst>
        <pc:docMk/>
      </pc:docMkLst>
      <pc:sldChg chg="modSp">
        <pc:chgData name="José S. Moscati" userId="S::jsmoscati@dgt-consultoria.com.br::1fa2a6db-a964-4583-a7c8-358080b59f0b" providerId="AD" clId="Web-{03C7099A-DC47-111B-20AB-68D785840ADA}" dt="2023-05-26T19:19:03.116" v="6" actId="20577"/>
        <pc:sldMkLst>
          <pc:docMk/>
          <pc:sldMk cId="273265464" sldId="2626"/>
        </pc:sldMkLst>
        <pc:spChg chg="mod">
          <ac:chgData name="José S. Moscati" userId="S::jsmoscati@dgt-consultoria.com.br::1fa2a6db-a964-4583-a7c8-358080b59f0b" providerId="AD" clId="Web-{03C7099A-DC47-111B-20AB-68D785840ADA}" dt="2023-05-26T19:19:03.116" v="6" actId="20577"/>
          <ac:spMkLst>
            <pc:docMk/>
            <pc:sldMk cId="273265464" sldId="2626"/>
            <ac:spMk id="16" creationId="{CBC557CE-80C6-29A9-6EB9-AC644CA34CB0}"/>
          </ac:spMkLst>
        </pc:spChg>
      </pc:sldChg>
      <pc:sldChg chg="addSp modSp">
        <pc:chgData name="José S. Moscati" userId="S::jsmoscati@dgt-consultoria.com.br::1fa2a6db-a964-4583-a7c8-358080b59f0b" providerId="AD" clId="Web-{03C7099A-DC47-111B-20AB-68D785840ADA}" dt="2023-05-26T19:17:33.723" v="1" actId="1076"/>
        <pc:sldMkLst>
          <pc:docMk/>
          <pc:sldMk cId="3487651073" sldId="2676"/>
        </pc:sldMkLst>
        <pc:spChg chg="add mod">
          <ac:chgData name="José S. Moscati" userId="S::jsmoscati@dgt-consultoria.com.br::1fa2a6db-a964-4583-a7c8-358080b59f0b" providerId="AD" clId="Web-{03C7099A-DC47-111B-20AB-68D785840ADA}" dt="2023-05-26T19:17:33.723" v="1" actId="1076"/>
          <ac:spMkLst>
            <pc:docMk/>
            <pc:sldMk cId="3487651073" sldId="2676"/>
            <ac:spMk id="2" creationId="{79978759-B96A-48ED-BFC9-7AC75188EDFB}"/>
          </ac:spMkLst>
        </pc:spChg>
      </pc:sldChg>
    </pc:docChg>
  </pc:docChgLst>
  <pc:docChgLst>
    <pc:chgData name="Rodrigo Pena" userId="4cbe5c2f-ed01-4f32-94fa-6891beed6677" providerId="ADAL" clId="{E66F0B81-CB58-46BF-9DFC-FBA3B729CA78}"/>
    <pc:docChg chg="addSld modSld">
      <pc:chgData name="Rodrigo Pena" userId="4cbe5c2f-ed01-4f32-94fa-6891beed6677" providerId="ADAL" clId="{E66F0B81-CB58-46BF-9DFC-FBA3B729CA78}" dt="2023-10-05T18:22:53.138" v="21" actId="729"/>
      <pc:docMkLst>
        <pc:docMk/>
      </pc:docMkLst>
      <pc:sldChg chg="addSp delSp modSp mod">
        <pc:chgData name="Rodrigo Pena" userId="4cbe5c2f-ed01-4f32-94fa-6891beed6677" providerId="ADAL" clId="{E66F0B81-CB58-46BF-9DFC-FBA3B729CA78}" dt="2023-10-05T18:22:36.059" v="20" actId="164"/>
        <pc:sldMkLst>
          <pc:docMk/>
          <pc:sldMk cId="3074479788" sldId="878"/>
        </pc:sldMkLst>
        <pc:spChg chg="mod">
          <ac:chgData name="Rodrigo Pena" userId="4cbe5c2f-ed01-4f32-94fa-6891beed6677" providerId="ADAL" clId="{E66F0B81-CB58-46BF-9DFC-FBA3B729CA78}" dt="2023-10-05T18:22:02.689" v="12" actId="165"/>
          <ac:spMkLst>
            <pc:docMk/>
            <pc:sldMk cId="3074479788" sldId="878"/>
            <ac:spMk id="7" creationId="{4F2AA45B-BD8C-1F23-6F7A-8BB9616CC619}"/>
          </ac:spMkLst>
        </pc:spChg>
        <pc:grpChg chg="del mod">
          <ac:chgData name="Rodrigo Pena" userId="4cbe5c2f-ed01-4f32-94fa-6891beed6677" providerId="ADAL" clId="{E66F0B81-CB58-46BF-9DFC-FBA3B729CA78}" dt="2023-10-05T18:22:02.689" v="12" actId="165"/>
          <ac:grpSpMkLst>
            <pc:docMk/>
            <pc:sldMk cId="3074479788" sldId="878"/>
            <ac:grpSpMk id="2" creationId="{EB6065C1-9A15-9280-DBCD-64286EC9B596}"/>
          </ac:grpSpMkLst>
        </pc:grpChg>
        <pc:grpChg chg="mod topLvl">
          <ac:chgData name="Rodrigo Pena" userId="4cbe5c2f-ed01-4f32-94fa-6891beed6677" providerId="ADAL" clId="{E66F0B81-CB58-46BF-9DFC-FBA3B729CA78}" dt="2023-10-05T18:22:36.059" v="20" actId="164"/>
          <ac:grpSpMkLst>
            <pc:docMk/>
            <pc:sldMk cId="3074479788" sldId="878"/>
            <ac:grpSpMk id="6" creationId="{75BF5F46-F9EB-125E-A81A-BA6D9FC47EC5}"/>
          </ac:grpSpMkLst>
        </pc:grpChg>
        <pc:grpChg chg="mod topLvl">
          <ac:chgData name="Rodrigo Pena" userId="4cbe5c2f-ed01-4f32-94fa-6891beed6677" providerId="ADAL" clId="{E66F0B81-CB58-46BF-9DFC-FBA3B729CA78}" dt="2023-10-05T18:22:36.059" v="20" actId="164"/>
          <ac:grpSpMkLst>
            <pc:docMk/>
            <pc:sldMk cId="3074479788" sldId="878"/>
            <ac:grpSpMk id="22" creationId="{83B5DD53-ABE1-71E7-DEBB-999106BEC717}"/>
          </ac:grpSpMkLst>
        </pc:grpChg>
        <pc:grpChg chg="add mod">
          <ac:chgData name="Rodrigo Pena" userId="4cbe5c2f-ed01-4f32-94fa-6891beed6677" providerId="ADAL" clId="{E66F0B81-CB58-46BF-9DFC-FBA3B729CA78}" dt="2023-10-05T18:22:36.059" v="20" actId="164"/>
          <ac:grpSpMkLst>
            <pc:docMk/>
            <pc:sldMk cId="3074479788" sldId="878"/>
            <ac:grpSpMk id="34" creationId="{BB310BE5-AC82-8194-2048-6B71407EDE8D}"/>
          </ac:grpSpMkLst>
        </pc:grpChg>
        <pc:grpChg chg="mod topLvl">
          <ac:chgData name="Rodrigo Pena" userId="4cbe5c2f-ed01-4f32-94fa-6891beed6677" providerId="ADAL" clId="{E66F0B81-CB58-46BF-9DFC-FBA3B729CA78}" dt="2023-10-05T18:22:36.059" v="20" actId="164"/>
          <ac:grpSpMkLst>
            <pc:docMk/>
            <pc:sldMk cId="3074479788" sldId="878"/>
            <ac:grpSpMk id="81" creationId="{0ECA9234-5929-90A8-384F-5EBAFC6F7399}"/>
          </ac:grpSpMkLst>
        </pc:grp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4" creationId="{E86BAFEF-3A1C-633C-BFAC-E8702F873202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5" creationId="{7C495572-489A-D52E-DDBA-B24FD5FFEF63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" creationId="{7DD3ED2B-1BC8-F436-8388-B24FAC8FD688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9" creationId="{AC74EE4D-2B47-A6B7-BFC5-585D34D4125E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0" creationId="{FB90DAD9-AFBA-6330-05C8-6DF98961E4C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1" creationId="{82FF04FE-C8F0-BDFD-6BF3-6DDEF71F0341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2" creationId="{7835CD8E-9808-A7CB-3870-036BAF4FBDA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3" creationId="{A539989E-17F9-499A-2AB6-AE12832262A6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4" creationId="{FFE5CD37-7AB2-FC69-B185-DA10FD1BBC4C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5" creationId="{241376E8-802B-B564-0965-1DAB90DB76B0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6" creationId="{4C149AD4-62CE-572D-C083-FF6700C5F3EB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7" creationId="{9DF30393-69D8-C7A3-7D59-B35C63187671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8" creationId="{6A4D4E6F-43A0-B3CE-C440-ADDEFBEBA172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9" creationId="{572E8463-9945-1B51-C0CD-ED629A0B62E7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0" creationId="{098F89C9-9F54-2657-1FEA-0DB6050935E1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1" creationId="{270065A6-6C3D-70C4-CBEC-BB5C966FBCEB}"/>
          </ac:picMkLst>
        </pc:picChg>
        <pc:picChg chg="mod">
          <ac:chgData name="Rodrigo Pena" userId="4cbe5c2f-ed01-4f32-94fa-6891beed6677" providerId="ADAL" clId="{E66F0B81-CB58-46BF-9DFC-FBA3B729CA78}" dt="2023-10-05T18:22:13.800" v="15" actId="1076"/>
          <ac:picMkLst>
            <pc:docMk/>
            <pc:sldMk cId="3074479788" sldId="878"/>
            <ac:picMk id="23" creationId="{E5403AF1-AF8A-B405-90DA-5CA5DED67671}"/>
          </ac:picMkLst>
        </pc:picChg>
        <pc:picChg chg="mod">
          <ac:chgData name="Rodrigo Pena" userId="4cbe5c2f-ed01-4f32-94fa-6891beed6677" providerId="ADAL" clId="{E66F0B81-CB58-46BF-9DFC-FBA3B729CA78}" dt="2023-10-05T18:22:13.800" v="15" actId="1076"/>
          <ac:picMkLst>
            <pc:docMk/>
            <pc:sldMk cId="3074479788" sldId="878"/>
            <ac:picMk id="24" creationId="{30A675C7-86C0-1E13-CC71-8C26CD2530F9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5" creationId="{9F08E5BC-EE29-A7C3-1B0A-8B92E6DA6B8C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6" creationId="{AB324FD2-57F0-9CF0-2290-27053662CA92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7" creationId="{E7B45B1F-7DD3-9747-5C12-B838511A6AB9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8" creationId="{C1F0C1C3-9D4E-D86B-C487-17546F588FED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29" creationId="{4F3A1C32-62EA-9A79-249B-2C5A6D8755A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30" creationId="{61C44556-47BF-F9B4-C823-3469C9A0626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31" creationId="{44C7A3B4-CBDB-AF0B-E33A-0061536A7EED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32" creationId="{0E21849F-007D-025B-6396-EFDCAAD21807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33" creationId="{E391688C-624E-A349-CF0C-B627CA45FDE8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65" creationId="{BBF8EF33-0D9B-C2E5-BB7C-EC52DBF6FD40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66" creationId="{B59838FE-E9B7-5385-F6B3-081B068F88B6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67" creationId="{5EBCA036-BB9E-BC11-E862-D15D2117A16A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68" creationId="{EAF2CA83-95BE-20FE-8270-5EA35273D0A0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69" creationId="{483F7C04-B41F-4CC9-E3DE-051EE3C65258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0" creationId="{DB28FCBD-7259-916D-8273-E274FB0A4068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1" creationId="{8D3A0AE7-E5D4-7A9F-82AF-A5BDFDF39356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2" creationId="{E8AA1FEA-2CD6-7B45-16E4-1B769C8FB42A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3" creationId="{5744B5DD-BDD4-CD09-7561-7D7730DC668B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4" creationId="{AD1B315F-D252-6886-021C-A99513978A52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5" creationId="{310F36ED-B2C5-8F8C-BF4B-6AC9526C6B6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6" creationId="{79CF7D17-E87C-99BB-8F92-296FD664FB8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7" creationId="{744E9F03-7673-C06D-7AFB-82E67950904A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78" creationId="{A8F518C4-6A35-7398-DF58-6ADEC47DBFB3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80" creationId="{EBCC761D-9BDC-1F84-7008-424B798BE88A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2" creationId="{B7E9FD3E-91D1-9493-896D-7DC0223A8276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3" creationId="{CA87D8CC-7C4C-E5D9-2519-0F4B13980B24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4" creationId="{CC4BE194-B971-6981-B955-B9EC58A97263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5" creationId="{C5F6F3C1-3FEF-545A-FC68-EF4041220BD7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6" creationId="{D22761FE-2A89-58C4-B5D2-3CD5C41FB0E5}"/>
          </ac:picMkLst>
        </pc:picChg>
        <pc:picChg chg="mod">
          <ac:chgData name="Rodrigo Pena" userId="4cbe5c2f-ed01-4f32-94fa-6891beed6677" providerId="ADAL" clId="{E66F0B81-CB58-46BF-9DFC-FBA3B729CA78}" dt="2023-10-05T18:22:02.689" v="12" actId="165"/>
          <ac:picMkLst>
            <pc:docMk/>
            <pc:sldMk cId="3074479788" sldId="878"/>
            <ac:picMk id="87" creationId="{98B6DBED-7ABA-93EB-E2A4-892F251CDA59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88" creationId="{2920B776-93C1-80B7-E153-A529B2A41D34}"/>
          </ac:picMkLst>
        </pc:picChg>
        <pc:picChg chg="mod topLvl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89" creationId="{BA04E59F-C5BF-C5B3-FA8A-206C0F14E7B7}"/>
          </ac:picMkLst>
        </pc:picChg>
        <pc:picChg chg="add mod">
          <ac:chgData name="Rodrigo Pena" userId="4cbe5c2f-ed01-4f32-94fa-6891beed6677" providerId="ADAL" clId="{E66F0B81-CB58-46BF-9DFC-FBA3B729CA78}" dt="2023-10-05T18:22:36.059" v="20" actId="164"/>
          <ac:picMkLst>
            <pc:docMk/>
            <pc:sldMk cId="3074479788" sldId="878"/>
            <ac:picMk id="1026" creationId="{4D304290-5BC7-1E7B-CF3D-09D5112A916C}"/>
          </ac:picMkLst>
        </pc:picChg>
      </pc:sldChg>
      <pc:sldChg chg="addSp modSp mod">
        <pc:chgData name="Rodrigo Pena" userId="4cbe5c2f-ed01-4f32-94fa-6891beed6677" providerId="ADAL" clId="{E66F0B81-CB58-46BF-9DFC-FBA3B729CA78}" dt="2023-10-05T18:18:25.991" v="3"/>
        <pc:sldMkLst>
          <pc:docMk/>
          <pc:sldMk cId="3487651073" sldId="2676"/>
        </pc:sldMkLst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2" creationId="{79978759-B96A-48ED-BFC9-7AC75188EDFB}"/>
          </ac:spMkLst>
        </pc:spChg>
        <pc:spChg chg="add mod">
          <ac:chgData name="Rodrigo Pena" userId="4cbe5c2f-ed01-4f32-94fa-6891beed6677" providerId="ADAL" clId="{E66F0B81-CB58-46BF-9DFC-FBA3B729CA78}" dt="2023-10-05T18:18:25.991" v="3"/>
          <ac:spMkLst>
            <pc:docMk/>
            <pc:sldMk cId="3487651073" sldId="2676"/>
            <ac:spMk id="7" creationId="{AC71F041-4BCA-7987-B97E-5663E5AD3907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9" creationId="{62F81620-C43E-4B0D-AD40-9D8F8EFCC1F7}"/>
          </ac:spMkLst>
        </pc:spChg>
        <pc:spChg chg="add mod">
          <ac:chgData name="Rodrigo Pena" userId="4cbe5c2f-ed01-4f32-94fa-6891beed6677" providerId="ADAL" clId="{E66F0B81-CB58-46BF-9DFC-FBA3B729CA78}" dt="2023-10-05T18:18:25.991" v="3"/>
          <ac:spMkLst>
            <pc:docMk/>
            <pc:sldMk cId="3487651073" sldId="2676"/>
            <ac:spMk id="10" creationId="{E2450B7C-4488-F4BE-3144-24C2BDDCAD67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12" creationId="{913B3656-5DAA-4368-8B5A-9D8074A98CFA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13" creationId="{F4B14C90-2BCE-4AAF-8FD7-7E03E2639DFD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14" creationId="{F47582F5-2894-4BA2-83D8-8515DB4BA489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15" creationId="{7611C258-9CD5-437C-87CC-AE255A9B47C5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16" creationId="{A2080786-6C04-4C1E-B548-3FA51671BF72}"/>
          </ac:spMkLst>
        </pc:spChg>
        <pc:spChg chg="mod">
          <ac:chgData name="Rodrigo Pena" userId="4cbe5c2f-ed01-4f32-94fa-6891beed6677" providerId="ADAL" clId="{E66F0B81-CB58-46BF-9DFC-FBA3B729CA78}" dt="2023-10-05T18:01:56.513" v="0" actId="1076"/>
          <ac:spMkLst>
            <pc:docMk/>
            <pc:sldMk cId="3487651073" sldId="2676"/>
            <ac:spMk id="21" creationId="{D805EBE7-F9F8-425C-9BFA-0D536B7D1947}"/>
          </ac:spMkLst>
        </pc:spChg>
        <pc:spChg chg="mod">
          <ac:chgData name="Rodrigo Pena" userId="4cbe5c2f-ed01-4f32-94fa-6891beed6677" providerId="ADAL" clId="{E66F0B81-CB58-46BF-9DFC-FBA3B729CA78}" dt="2023-10-05T18:01:56.513" v="0" actId="1076"/>
          <ac:spMkLst>
            <pc:docMk/>
            <pc:sldMk cId="3487651073" sldId="2676"/>
            <ac:spMk id="25" creationId="{0153D7A0-F9B6-4487-8EA4-01B74084B737}"/>
          </ac:spMkLst>
        </pc:spChg>
        <pc:spChg chg="mod">
          <ac:chgData name="Rodrigo Pena" userId="4cbe5c2f-ed01-4f32-94fa-6891beed6677" providerId="ADAL" clId="{E66F0B81-CB58-46BF-9DFC-FBA3B729CA78}" dt="2023-10-05T18:02:06.801" v="1" actId="1076"/>
          <ac:spMkLst>
            <pc:docMk/>
            <pc:sldMk cId="3487651073" sldId="2676"/>
            <ac:spMk id="29" creationId="{8848AC9D-76CA-4C1A-A011-5DD18C028EB1}"/>
          </ac:spMkLst>
        </pc:spChg>
        <pc:spChg chg="mod">
          <ac:chgData name="Rodrigo Pena" userId="4cbe5c2f-ed01-4f32-94fa-6891beed6677" providerId="ADAL" clId="{E66F0B81-CB58-46BF-9DFC-FBA3B729CA78}" dt="2023-10-05T18:02:06.801" v="1" actId="1076"/>
          <ac:spMkLst>
            <pc:docMk/>
            <pc:sldMk cId="3487651073" sldId="2676"/>
            <ac:spMk id="33" creationId="{3B353662-ACF7-4DFC-8D4D-E5567EB73DB1}"/>
          </ac:spMkLst>
        </pc:spChg>
        <pc:spChg chg="mod">
          <ac:chgData name="Rodrigo Pena" userId="4cbe5c2f-ed01-4f32-94fa-6891beed6677" providerId="ADAL" clId="{E66F0B81-CB58-46BF-9DFC-FBA3B729CA78}" dt="2023-10-05T18:01:56.513" v="0" actId="1076"/>
          <ac:spMkLst>
            <pc:docMk/>
            <pc:sldMk cId="3487651073" sldId="2676"/>
            <ac:spMk id="37" creationId="{9D2576BE-55E7-4CA5-A2EB-F76CFC32EC2A}"/>
          </ac:spMkLst>
        </pc:spChg>
        <pc:spChg chg="mod">
          <ac:chgData name="Rodrigo Pena" userId="4cbe5c2f-ed01-4f32-94fa-6891beed6677" providerId="ADAL" clId="{E66F0B81-CB58-46BF-9DFC-FBA3B729CA78}" dt="2023-10-05T18:02:06.801" v="1" actId="1076"/>
          <ac:spMkLst>
            <pc:docMk/>
            <pc:sldMk cId="3487651073" sldId="2676"/>
            <ac:spMk id="38" creationId="{9CB71FB6-2B90-4859-BD3C-C762DF962FD1}"/>
          </ac:spMkLst>
        </pc:spChg>
        <pc:spChg chg="mod">
          <ac:chgData name="Rodrigo Pena" userId="4cbe5c2f-ed01-4f32-94fa-6891beed6677" providerId="ADAL" clId="{E66F0B81-CB58-46BF-9DFC-FBA3B729CA78}" dt="2023-10-05T18:01:56.513" v="0" actId="1076"/>
          <ac:spMkLst>
            <pc:docMk/>
            <pc:sldMk cId="3487651073" sldId="2676"/>
            <ac:spMk id="51" creationId="{E48B4390-7888-4F34-A578-9D100E5A2127}"/>
          </ac:spMkLst>
        </pc:spChg>
        <pc:spChg chg="mod">
          <ac:chgData name="Rodrigo Pena" userId="4cbe5c2f-ed01-4f32-94fa-6891beed6677" providerId="ADAL" clId="{E66F0B81-CB58-46BF-9DFC-FBA3B729CA78}" dt="2023-10-05T18:02:06.801" v="1" actId="1076"/>
          <ac:spMkLst>
            <pc:docMk/>
            <pc:sldMk cId="3487651073" sldId="2676"/>
            <ac:spMk id="52" creationId="{82A6C08E-9886-4731-9A25-20ED93CFAD5E}"/>
          </ac:spMkLst>
        </pc:spChg>
        <pc:spChg chg="mod">
          <ac:chgData name="Rodrigo Pena" userId="4cbe5c2f-ed01-4f32-94fa-6891beed6677" providerId="ADAL" clId="{E66F0B81-CB58-46BF-9DFC-FBA3B729CA78}" dt="2023-10-05T18:02:12.861" v="2" actId="1076"/>
          <ac:spMkLst>
            <pc:docMk/>
            <pc:sldMk cId="3487651073" sldId="2676"/>
            <ac:spMk id="64" creationId="{3164237D-D1D5-4857-BD3C-80C121F1857E}"/>
          </ac:spMkLst>
        </pc:spChg>
        <pc:grpChg chg="mod">
          <ac:chgData name="Rodrigo Pena" userId="4cbe5c2f-ed01-4f32-94fa-6891beed6677" providerId="ADAL" clId="{E66F0B81-CB58-46BF-9DFC-FBA3B729CA78}" dt="2023-10-05T18:01:56.513" v="0" actId="1076"/>
          <ac:grpSpMkLst>
            <pc:docMk/>
            <pc:sldMk cId="3487651073" sldId="2676"/>
            <ac:grpSpMk id="59" creationId="{07737DDC-9DA9-469D-B2DE-58D736063672}"/>
          </ac:grpSpMkLst>
        </pc:grpChg>
        <pc:picChg chg="mod">
          <ac:chgData name="Rodrigo Pena" userId="4cbe5c2f-ed01-4f32-94fa-6891beed6677" providerId="ADAL" clId="{E66F0B81-CB58-46BF-9DFC-FBA3B729CA78}" dt="2023-10-05T18:02:12.861" v="2" actId="1076"/>
          <ac:picMkLst>
            <pc:docMk/>
            <pc:sldMk cId="3487651073" sldId="2676"/>
            <ac:picMk id="4" creationId="{3D5194E4-F0D0-B28E-52EF-EF5996BC70AA}"/>
          </ac:picMkLst>
        </pc:picChg>
        <pc:picChg chg="add mod">
          <ac:chgData name="Rodrigo Pena" userId="4cbe5c2f-ed01-4f32-94fa-6891beed6677" providerId="ADAL" clId="{E66F0B81-CB58-46BF-9DFC-FBA3B729CA78}" dt="2023-10-05T18:18:25.991" v="3"/>
          <ac:picMkLst>
            <pc:docMk/>
            <pc:sldMk cId="3487651073" sldId="2676"/>
            <ac:picMk id="6" creationId="{7A9552B3-22E4-618A-426B-E94C000A1C4E}"/>
          </ac:picMkLst>
        </pc:picChg>
        <pc:picChg chg="add mod">
          <ac:chgData name="Rodrigo Pena" userId="4cbe5c2f-ed01-4f32-94fa-6891beed6677" providerId="ADAL" clId="{E66F0B81-CB58-46BF-9DFC-FBA3B729CA78}" dt="2023-10-05T18:18:25.991" v="3"/>
          <ac:picMkLst>
            <pc:docMk/>
            <pc:sldMk cId="3487651073" sldId="2676"/>
            <ac:picMk id="8" creationId="{503FB5A8-607D-2080-90A6-E0807079B5A0}"/>
          </ac:picMkLst>
        </pc:picChg>
        <pc:picChg chg="mod">
          <ac:chgData name="Rodrigo Pena" userId="4cbe5c2f-ed01-4f32-94fa-6891beed6677" providerId="ADAL" clId="{E66F0B81-CB58-46BF-9DFC-FBA3B729CA78}" dt="2023-10-05T18:01:56.513" v="0" actId="1076"/>
          <ac:picMkLst>
            <pc:docMk/>
            <pc:sldMk cId="3487651073" sldId="2676"/>
            <ac:picMk id="24" creationId="{4C0B9485-1327-441C-8A99-126DAB2523C9}"/>
          </ac:picMkLst>
        </pc:picChg>
        <pc:picChg chg="mod">
          <ac:chgData name="Rodrigo Pena" userId="4cbe5c2f-ed01-4f32-94fa-6891beed6677" providerId="ADAL" clId="{E66F0B81-CB58-46BF-9DFC-FBA3B729CA78}" dt="2023-10-05T18:02:06.801" v="1" actId="1076"/>
          <ac:picMkLst>
            <pc:docMk/>
            <pc:sldMk cId="3487651073" sldId="2676"/>
            <ac:picMk id="28" creationId="{27CAF039-A484-48BA-AF2D-CD3E0EC215ED}"/>
          </ac:picMkLst>
        </pc:picChg>
        <pc:picChg chg="mod">
          <ac:chgData name="Rodrigo Pena" userId="4cbe5c2f-ed01-4f32-94fa-6891beed6677" providerId="ADAL" clId="{E66F0B81-CB58-46BF-9DFC-FBA3B729CA78}" dt="2023-10-05T18:02:06.801" v="1" actId="1076"/>
          <ac:picMkLst>
            <pc:docMk/>
            <pc:sldMk cId="3487651073" sldId="2676"/>
            <ac:picMk id="32" creationId="{8FA1831A-1561-476B-9EBF-901A98A02FC8}"/>
          </ac:picMkLst>
        </pc:picChg>
        <pc:picChg chg="mod">
          <ac:chgData name="Rodrigo Pena" userId="4cbe5c2f-ed01-4f32-94fa-6891beed6677" providerId="ADAL" clId="{E66F0B81-CB58-46BF-9DFC-FBA3B729CA78}" dt="2023-10-05T18:01:56.513" v="0" actId="1076"/>
          <ac:picMkLst>
            <pc:docMk/>
            <pc:sldMk cId="3487651073" sldId="2676"/>
            <ac:picMk id="36" creationId="{3366E19B-4399-418D-8652-69963B4A1375}"/>
          </ac:picMkLst>
        </pc:picChg>
        <pc:picChg chg="mod">
          <ac:chgData name="Rodrigo Pena" userId="4cbe5c2f-ed01-4f32-94fa-6891beed6677" providerId="ADAL" clId="{E66F0B81-CB58-46BF-9DFC-FBA3B729CA78}" dt="2023-10-05T18:02:06.801" v="1" actId="1076"/>
          <ac:picMkLst>
            <pc:docMk/>
            <pc:sldMk cId="3487651073" sldId="2676"/>
            <ac:picMk id="41" creationId="{9C44FF57-5EEA-4AD9-86BB-D817B8BD1319}"/>
          </ac:picMkLst>
        </pc:picChg>
        <pc:picChg chg="mod">
          <ac:chgData name="Rodrigo Pena" userId="4cbe5c2f-ed01-4f32-94fa-6891beed6677" providerId="ADAL" clId="{E66F0B81-CB58-46BF-9DFC-FBA3B729CA78}" dt="2023-10-05T18:01:56.513" v="0" actId="1076"/>
          <ac:picMkLst>
            <pc:docMk/>
            <pc:sldMk cId="3487651073" sldId="2676"/>
            <ac:picMk id="47" creationId="{5B3E6793-5E15-4BD1-8895-C06CC523A650}"/>
          </ac:picMkLst>
        </pc:picChg>
        <pc:picChg chg="mod">
          <ac:chgData name="Rodrigo Pena" userId="4cbe5c2f-ed01-4f32-94fa-6891beed6677" providerId="ADAL" clId="{E66F0B81-CB58-46BF-9DFC-FBA3B729CA78}" dt="2023-10-05T18:02:06.801" v="1" actId="1076"/>
          <ac:picMkLst>
            <pc:docMk/>
            <pc:sldMk cId="3487651073" sldId="2676"/>
            <ac:picMk id="50" creationId="{D62D51FD-81EA-458B-9AAE-3B7F5670D75A}"/>
          </ac:picMkLst>
        </pc:picChg>
      </pc:sldChg>
      <pc:sldChg chg="modSp add mod modShow">
        <pc:chgData name="Rodrigo Pena" userId="4cbe5c2f-ed01-4f32-94fa-6891beed6677" providerId="ADAL" clId="{E66F0B81-CB58-46BF-9DFC-FBA3B729CA78}" dt="2023-10-05T18:22:53.138" v="21" actId="729"/>
        <pc:sldMkLst>
          <pc:docMk/>
          <pc:sldMk cId="3272660070" sldId="2776"/>
        </pc:sldMkLst>
        <pc:spChg chg="mod">
          <ac:chgData name="Rodrigo Pena" userId="4cbe5c2f-ed01-4f32-94fa-6891beed6677" providerId="ADAL" clId="{E66F0B81-CB58-46BF-9DFC-FBA3B729CA78}" dt="2023-10-05T18:20:41.557" v="5" actId="1076"/>
          <ac:spMkLst>
            <pc:docMk/>
            <pc:sldMk cId="3272660070" sldId="2776"/>
            <ac:spMk id="42" creationId="{11CBE7B9-D7D2-4BA6-A3E1-C6AF31E575A1}"/>
          </ac:spMkLst>
        </pc:spChg>
        <pc:picChg chg="mod">
          <ac:chgData name="Rodrigo Pena" userId="4cbe5c2f-ed01-4f32-94fa-6891beed6677" providerId="ADAL" clId="{E66F0B81-CB58-46BF-9DFC-FBA3B729CA78}" dt="2023-10-05T18:20:45.909" v="6" actId="1076"/>
          <ac:picMkLst>
            <pc:docMk/>
            <pc:sldMk cId="3272660070" sldId="2776"/>
            <ac:picMk id="5" creationId="{648F9FBA-98B2-C42C-564C-91387639BD62}"/>
          </ac:picMkLst>
        </pc:picChg>
      </pc:sldChg>
    </pc:docChg>
  </pc:docChgLst>
  <pc:docChgLst>
    <pc:chgData name="Edelcio Umphir" userId="24f26d32-b8eb-4900-b982-1cf3cb16c1e6" providerId="ADAL" clId="{ACAD0E6D-6045-480A-8F46-F037A3AFCC6D}"/>
    <pc:docChg chg="modSld">
      <pc:chgData name="Edelcio Umphir" userId="24f26d32-b8eb-4900-b982-1cf3cb16c1e6" providerId="ADAL" clId="{ACAD0E6D-6045-480A-8F46-F037A3AFCC6D}" dt="2023-06-12T20:45:33.581" v="19" actId="729"/>
      <pc:docMkLst>
        <pc:docMk/>
      </pc:docMkLst>
      <pc:sldChg chg="mod modShow">
        <pc:chgData name="Edelcio Umphir" userId="24f26d32-b8eb-4900-b982-1cf3cb16c1e6" providerId="ADAL" clId="{ACAD0E6D-6045-480A-8F46-F037A3AFCC6D}" dt="2023-06-12T20:41:30.505" v="1" actId="729"/>
        <pc:sldMkLst>
          <pc:docMk/>
          <pc:sldMk cId="2185313992" sldId="1156"/>
        </pc:sldMkLst>
      </pc:sldChg>
      <pc:sldChg chg="mod modShow">
        <pc:chgData name="Edelcio Umphir" userId="24f26d32-b8eb-4900-b982-1cf3cb16c1e6" providerId="ADAL" clId="{ACAD0E6D-6045-480A-8F46-F037A3AFCC6D}" dt="2023-06-12T20:41:53.138" v="3" actId="729"/>
        <pc:sldMkLst>
          <pc:docMk/>
          <pc:sldMk cId="3271760758" sldId="1157"/>
        </pc:sldMkLst>
      </pc:sldChg>
      <pc:sldChg chg="mod modShow">
        <pc:chgData name="Edelcio Umphir" userId="24f26d32-b8eb-4900-b982-1cf3cb16c1e6" providerId="ADAL" clId="{ACAD0E6D-6045-480A-8F46-F037A3AFCC6D}" dt="2023-06-12T20:42:25.521" v="4" actId="729"/>
        <pc:sldMkLst>
          <pc:docMk/>
          <pc:sldMk cId="4033032989" sldId="1316"/>
        </pc:sldMkLst>
      </pc:sldChg>
      <pc:sldChg chg="mod modShow">
        <pc:chgData name="Edelcio Umphir" userId="24f26d32-b8eb-4900-b982-1cf3cb16c1e6" providerId="ADAL" clId="{ACAD0E6D-6045-480A-8F46-F037A3AFCC6D}" dt="2023-06-12T20:43:54.346" v="9" actId="729"/>
        <pc:sldMkLst>
          <pc:docMk/>
          <pc:sldMk cId="2867071762" sldId="1320"/>
        </pc:sldMkLst>
      </pc:sldChg>
      <pc:sldChg chg="mod modShow">
        <pc:chgData name="Edelcio Umphir" userId="24f26d32-b8eb-4900-b982-1cf3cb16c1e6" providerId="ADAL" clId="{ACAD0E6D-6045-480A-8F46-F037A3AFCC6D}" dt="2023-06-12T20:44:05.492" v="11" actId="729"/>
        <pc:sldMkLst>
          <pc:docMk/>
          <pc:sldMk cId="1987753589" sldId="1321"/>
        </pc:sldMkLst>
      </pc:sldChg>
      <pc:sldChg chg="mod modShow">
        <pc:chgData name="Edelcio Umphir" userId="24f26d32-b8eb-4900-b982-1cf3cb16c1e6" providerId="ADAL" clId="{ACAD0E6D-6045-480A-8F46-F037A3AFCC6D}" dt="2023-06-12T20:44:22.854" v="13" actId="729"/>
        <pc:sldMkLst>
          <pc:docMk/>
          <pc:sldMk cId="2335169539" sldId="2683"/>
        </pc:sldMkLst>
      </pc:sldChg>
      <pc:sldChg chg="mod modShow">
        <pc:chgData name="Edelcio Umphir" userId="24f26d32-b8eb-4900-b982-1cf3cb16c1e6" providerId="ADAL" clId="{ACAD0E6D-6045-480A-8F46-F037A3AFCC6D}" dt="2023-06-12T20:44:47.897" v="15" actId="729"/>
        <pc:sldMkLst>
          <pc:docMk/>
          <pc:sldMk cId="66479891" sldId="2922"/>
        </pc:sldMkLst>
      </pc:sldChg>
      <pc:sldChg chg="mod modShow">
        <pc:chgData name="Edelcio Umphir" userId="24f26d32-b8eb-4900-b982-1cf3cb16c1e6" providerId="ADAL" clId="{ACAD0E6D-6045-480A-8F46-F037A3AFCC6D}" dt="2023-06-12T20:44:12.020" v="12" actId="729"/>
        <pc:sldMkLst>
          <pc:docMk/>
          <pc:sldMk cId="1576670405" sldId="2931"/>
        </pc:sldMkLst>
      </pc:sldChg>
      <pc:sldChg chg="mod modShow">
        <pc:chgData name="Edelcio Umphir" userId="24f26d32-b8eb-4900-b982-1cf3cb16c1e6" providerId="ADAL" clId="{ACAD0E6D-6045-480A-8F46-F037A3AFCC6D}" dt="2023-06-12T20:43:16.474" v="7" actId="729"/>
        <pc:sldMkLst>
          <pc:docMk/>
          <pc:sldMk cId="3638611253" sldId="2935"/>
        </pc:sldMkLst>
      </pc:sldChg>
      <pc:sldChg chg="mod modShow">
        <pc:chgData name="Edelcio Umphir" userId="24f26d32-b8eb-4900-b982-1cf3cb16c1e6" providerId="ADAL" clId="{ACAD0E6D-6045-480A-8F46-F037A3AFCC6D}" dt="2023-06-12T20:45:06.164" v="16" actId="729"/>
        <pc:sldMkLst>
          <pc:docMk/>
          <pc:sldMk cId="1431277943" sldId="2940"/>
        </pc:sldMkLst>
      </pc:sldChg>
      <pc:sldChg chg="mod modShow">
        <pc:chgData name="Edelcio Umphir" userId="24f26d32-b8eb-4900-b982-1cf3cb16c1e6" providerId="ADAL" clId="{ACAD0E6D-6045-480A-8F46-F037A3AFCC6D}" dt="2023-06-12T20:45:24.618" v="18" actId="729"/>
        <pc:sldMkLst>
          <pc:docMk/>
          <pc:sldMk cId="3015780234" sldId="2941"/>
        </pc:sldMkLst>
      </pc:sldChg>
      <pc:sldChg chg="mod modShow">
        <pc:chgData name="Edelcio Umphir" userId="24f26d32-b8eb-4900-b982-1cf3cb16c1e6" providerId="ADAL" clId="{ACAD0E6D-6045-480A-8F46-F037A3AFCC6D}" dt="2023-06-12T20:45:33.581" v="19" actId="729"/>
        <pc:sldMkLst>
          <pc:docMk/>
          <pc:sldMk cId="2031338517" sldId="2942"/>
        </pc:sldMkLst>
      </pc:sldChg>
      <pc:sldChg chg="mod modShow">
        <pc:chgData name="Edelcio Umphir" userId="24f26d32-b8eb-4900-b982-1cf3cb16c1e6" providerId="ADAL" clId="{ACAD0E6D-6045-480A-8F46-F037A3AFCC6D}" dt="2023-06-12T20:43:07.058" v="6" actId="729"/>
        <pc:sldMkLst>
          <pc:docMk/>
          <pc:sldMk cId="2738793270" sldId="2943"/>
        </pc:sldMkLst>
      </pc:sldChg>
      <pc:sldChg chg="mod modShow">
        <pc:chgData name="Edelcio Umphir" userId="24f26d32-b8eb-4900-b982-1cf3cb16c1e6" providerId="ADAL" clId="{ACAD0E6D-6045-480A-8F46-F037A3AFCC6D}" dt="2023-06-12T20:43:22.805" v="8" actId="729"/>
        <pc:sldMkLst>
          <pc:docMk/>
          <pc:sldMk cId="2924190625" sldId="2944"/>
        </pc:sldMkLst>
      </pc:sldChg>
      <pc:sldChg chg="mod modShow">
        <pc:chgData name="Edelcio Umphir" userId="24f26d32-b8eb-4900-b982-1cf3cb16c1e6" providerId="ADAL" clId="{ACAD0E6D-6045-480A-8F46-F037A3AFCC6D}" dt="2023-06-12T20:41:43.832" v="2" actId="729"/>
        <pc:sldMkLst>
          <pc:docMk/>
          <pc:sldMk cId="3190533681" sldId="2954"/>
        </pc:sldMkLst>
      </pc:sldChg>
      <pc:sldChg chg="mod modShow">
        <pc:chgData name="Edelcio Umphir" userId="24f26d32-b8eb-4900-b982-1cf3cb16c1e6" providerId="ADAL" clId="{ACAD0E6D-6045-480A-8F46-F037A3AFCC6D}" dt="2023-06-12T20:42:48.885" v="5" actId="729"/>
        <pc:sldMkLst>
          <pc:docMk/>
          <pc:sldMk cId="1774106117" sldId="2955"/>
        </pc:sldMkLst>
      </pc:sldChg>
      <pc:sldChg chg="mod modShow">
        <pc:chgData name="Edelcio Umphir" userId="24f26d32-b8eb-4900-b982-1cf3cb16c1e6" providerId="ADAL" clId="{ACAD0E6D-6045-480A-8F46-F037A3AFCC6D}" dt="2023-06-12T20:43:59.743" v="10" actId="729"/>
        <pc:sldMkLst>
          <pc:docMk/>
          <pc:sldMk cId="2371268381" sldId="2956"/>
        </pc:sldMkLst>
      </pc:sldChg>
      <pc:sldChg chg="mod modShow">
        <pc:chgData name="Edelcio Umphir" userId="24f26d32-b8eb-4900-b982-1cf3cb16c1e6" providerId="ADAL" clId="{ACAD0E6D-6045-480A-8F46-F037A3AFCC6D}" dt="2023-06-12T20:44:28.147" v="14" actId="729"/>
        <pc:sldMkLst>
          <pc:docMk/>
          <pc:sldMk cId="2380291741" sldId="2957"/>
        </pc:sldMkLst>
      </pc:sldChg>
      <pc:sldChg chg="mod modShow">
        <pc:chgData name="Edelcio Umphir" userId="24f26d32-b8eb-4900-b982-1cf3cb16c1e6" providerId="ADAL" clId="{ACAD0E6D-6045-480A-8F46-F037A3AFCC6D}" dt="2023-06-12T20:41:10.813" v="0" actId="729"/>
        <pc:sldMkLst>
          <pc:docMk/>
          <pc:sldMk cId="4188516610" sldId="2961"/>
        </pc:sldMkLst>
      </pc:sldChg>
      <pc:sldChg chg="mod modShow">
        <pc:chgData name="Edelcio Umphir" userId="24f26d32-b8eb-4900-b982-1cf3cb16c1e6" providerId="ADAL" clId="{ACAD0E6D-6045-480A-8F46-F037A3AFCC6D}" dt="2023-06-12T20:45:13.631" v="17" actId="729"/>
        <pc:sldMkLst>
          <pc:docMk/>
          <pc:sldMk cId="1514912086" sldId="2964"/>
        </pc:sldMkLst>
      </pc:sldChg>
    </pc:docChg>
  </pc:docChgLst>
  <pc:docChgLst>
    <pc:chgData name="Carlos Deghi" userId="a6d5b842-f429-4d48-b81f-4727776bba98" providerId="ADAL" clId="{FDA7F443-5D04-46A2-B0A3-BE080E73AAD1}"/>
    <pc:docChg chg="custSel modSld">
      <pc:chgData name="Carlos Deghi" userId="a6d5b842-f429-4d48-b81f-4727776bba98" providerId="ADAL" clId="{FDA7F443-5D04-46A2-B0A3-BE080E73AAD1}" dt="2023-09-18T14:08:00.570" v="193" actId="20577"/>
      <pc:docMkLst>
        <pc:docMk/>
      </pc:docMkLst>
      <pc:sldChg chg="modSp mod">
        <pc:chgData name="Carlos Deghi" userId="a6d5b842-f429-4d48-b81f-4727776bba98" providerId="ADAL" clId="{FDA7F443-5D04-46A2-B0A3-BE080E73AAD1}" dt="2023-09-18T14:08:00.570" v="193" actId="20577"/>
        <pc:sldMkLst>
          <pc:docMk/>
          <pc:sldMk cId="1079443549" sldId="387"/>
        </pc:sldMkLst>
        <pc:spChg chg="mod">
          <ac:chgData name="Carlos Deghi" userId="a6d5b842-f429-4d48-b81f-4727776bba98" providerId="ADAL" clId="{FDA7F443-5D04-46A2-B0A3-BE080E73AAD1}" dt="2023-09-18T14:07:37.936" v="190" actId="20577"/>
          <ac:spMkLst>
            <pc:docMk/>
            <pc:sldMk cId="1079443549" sldId="387"/>
            <ac:spMk id="13" creationId="{77A5EBB4-A4B5-C83B-4988-F50039D837CA}"/>
          </ac:spMkLst>
        </pc:spChg>
        <pc:spChg chg="mod">
          <ac:chgData name="Carlos Deghi" userId="a6d5b842-f429-4d48-b81f-4727776bba98" providerId="ADAL" clId="{FDA7F443-5D04-46A2-B0A3-BE080E73AAD1}" dt="2023-09-18T14:08:00.570" v="193" actId="20577"/>
          <ac:spMkLst>
            <pc:docMk/>
            <pc:sldMk cId="1079443549" sldId="387"/>
            <ac:spMk id="53" creationId="{E9018441-BF71-6602-CD6C-03E363CAE816}"/>
          </ac:spMkLst>
        </pc:spChg>
      </pc:sldChg>
      <pc:sldChg chg="modSp mod">
        <pc:chgData name="Carlos Deghi" userId="a6d5b842-f429-4d48-b81f-4727776bba98" providerId="ADAL" clId="{FDA7F443-5D04-46A2-B0A3-BE080E73AAD1}" dt="2023-09-18T14:07:15.695" v="183" actId="20577"/>
        <pc:sldMkLst>
          <pc:docMk/>
          <pc:sldMk cId="850326295" sldId="1179"/>
        </pc:sldMkLst>
        <pc:spChg chg="mod">
          <ac:chgData name="Carlos Deghi" userId="a6d5b842-f429-4d48-b81f-4727776bba98" providerId="ADAL" clId="{FDA7F443-5D04-46A2-B0A3-BE080E73AAD1}" dt="2023-09-18T14:07:15.695" v="183" actId="20577"/>
          <ac:spMkLst>
            <pc:docMk/>
            <pc:sldMk cId="850326295" sldId="1179"/>
            <ac:spMk id="5" creationId="{691BD817-ED31-4962-832B-1254437B69A3}"/>
          </ac:spMkLst>
        </pc:spChg>
        <pc:spChg chg="mod">
          <ac:chgData name="Carlos Deghi" userId="a6d5b842-f429-4d48-b81f-4727776bba98" providerId="ADAL" clId="{FDA7F443-5D04-46A2-B0A3-BE080E73AAD1}" dt="2023-09-18T14:05:48.944" v="164" actId="20577"/>
          <ac:spMkLst>
            <pc:docMk/>
            <pc:sldMk cId="850326295" sldId="1179"/>
            <ac:spMk id="17" creationId="{6191B3D9-6BEE-FC1D-2961-B08F0D6CD07D}"/>
          </ac:spMkLst>
        </pc:spChg>
        <pc:spChg chg="mod">
          <ac:chgData name="Carlos Deghi" userId="a6d5b842-f429-4d48-b81f-4727776bba98" providerId="ADAL" clId="{FDA7F443-5D04-46A2-B0A3-BE080E73AAD1}" dt="2023-09-18T14:06:34.944" v="177" actId="20577"/>
          <ac:spMkLst>
            <pc:docMk/>
            <pc:sldMk cId="850326295" sldId="1179"/>
            <ac:spMk id="19" creationId="{E67CD68A-8910-829F-B65B-779BCBEB87DC}"/>
          </ac:spMkLst>
        </pc:spChg>
      </pc:sldChg>
      <pc:sldChg chg="modSp mod">
        <pc:chgData name="Carlos Deghi" userId="a6d5b842-f429-4d48-b81f-4727776bba98" providerId="ADAL" clId="{FDA7F443-5D04-46A2-B0A3-BE080E73AAD1}" dt="2023-09-18T14:07:21.375" v="189" actId="20577"/>
        <pc:sldMkLst>
          <pc:docMk/>
          <pc:sldMk cId="2134159956" sldId="2959"/>
        </pc:sldMkLst>
        <pc:spChg chg="mod">
          <ac:chgData name="Carlos Deghi" userId="a6d5b842-f429-4d48-b81f-4727776bba98" providerId="ADAL" clId="{FDA7F443-5D04-46A2-B0A3-BE080E73AAD1}" dt="2023-09-18T14:07:21.375" v="189" actId="20577"/>
          <ac:spMkLst>
            <pc:docMk/>
            <pc:sldMk cId="2134159956" sldId="2959"/>
            <ac:spMk id="5" creationId="{691BD817-ED31-4962-832B-1254437B69A3}"/>
          </ac:spMkLst>
        </pc:spChg>
        <pc:spChg chg="mod">
          <ac:chgData name="Carlos Deghi" userId="a6d5b842-f429-4d48-b81f-4727776bba98" providerId="ADAL" clId="{FDA7F443-5D04-46A2-B0A3-BE080E73AAD1}" dt="2023-09-18T14:03:18.167" v="105" actId="20577"/>
          <ac:spMkLst>
            <pc:docMk/>
            <pc:sldMk cId="2134159956" sldId="2959"/>
            <ac:spMk id="10" creationId="{B0A575AE-89BA-964A-34AA-8C3A75F6DFEB}"/>
          </ac:spMkLst>
        </pc:spChg>
        <pc:spChg chg="mod">
          <ac:chgData name="Carlos Deghi" userId="a6d5b842-f429-4d48-b81f-4727776bba98" providerId="ADAL" clId="{FDA7F443-5D04-46A2-B0A3-BE080E73AAD1}" dt="2023-09-18T14:01:49.840" v="23" actId="20577"/>
          <ac:spMkLst>
            <pc:docMk/>
            <pc:sldMk cId="2134159956" sldId="2959"/>
            <ac:spMk id="11" creationId="{ECE65F19-BD28-D4F7-B9AD-A4D6CF5D57B8}"/>
          </ac:spMkLst>
        </pc:spChg>
        <pc:spChg chg="mod">
          <ac:chgData name="Carlos Deghi" userId="a6d5b842-f429-4d48-b81f-4727776bba98" providerId="ADAL" clId="{FDA7F443-5D04-46A2-B0A3-BE080E73AAD1}" dt="2023-09-18T14:02:17.544" v="78" actId="20577"/>
          <ac:spMkLst>
            <pc:docMk/>
            <pc:sldMk cId="2134159956" sldId="2959"/>
            <ac:spMk id="12" creationId="{19A09DA2-3C24-7518-2F74-55FD4ED386FB}"/>
          </ac:spMkLst>
        </pc:spChg>
      </pc:sldChg>
    </pc:docChg>
  </pc:docChgLst>
  <pc:docChgLst>
    <pc:chgData name="Rodrigo Pena" userId="S::rodrigo.pena@dgt-consultoria.com.br::4cbe5c2f-ed01-4f32-94fa-6891beed6677" providerId="AD" clId="Web-{DC294954-6B02-6FBF-82BE-EC42E8C1A285}"/>
    <pc:docChg chg="modSld">
      <pc:chgData name="Rodrigo Pena" userId="S::rodrigo.pena@dgt-consultoria.com.br::4cbe5c2f-ed01-4f32-94fa-6891beed6677" providerId="AD" clId="Web-{DC294954-6B02-6FBF-82BE-EC42E8C1A285}" dt="2023-10-05T17:58:33.369" v="1"/>
      <pc:docMkLst>
        <pc:docMk/>
      </pc:docMkLst>
      <pc:sldChg chg="modSp">
        <pc:chgData name="Rodrigo Pena" userId="S::rodrigo.pena@dgt-consultoria.com.br::4cbe5c2f-ed01-4f32-94fa-6891beed6677" providerId="AD" clId="Web-{DC294954-6B02-6FBF-82BE-EC42E8C1A285}" dt="2023-10-05T17:58:33.369" v="1"/>
        <pc:sldMkLst>
          <pc:docMk/>
          <pc:sldMk cId="2939813123" sldId="2981"/>
        </pc:sldMkLst>
        <pc:graphicFrameChg chg="mod modGraphic">
          <ac:chgData name="Rodrigo Pena" userId="S::rodrigo.pena@dgt-consultoria.com.br::4cbe5c2f-ed01-4f32-94fa-6891beed6677" providerId="AD" clId="Web-{DC294954-6B02-6FBF-82BE-EC42E8C1A285}" dt="2023-10-05T17:58:33.369" v="1"/>
          <ac:graphicFrameMkLst>
            <pc:docMk/>
            <pc:sldMk cId="2939813123" sldId="2981"/>
            <ac:graphicFrameMk id="2" creationId="{A36F828C-4D81-6738-C0EC-0179B9212D66}"/>
          </ac:graphicFrameMkLst>
        </pc:graphicFrameChg>
      </pc:sldChg>
    </pc:docChg>
  </pc:docChgLst>
  <pc:docChgLst>
    <pc:chgData name="Otavio Augusto Sabia Gava" userId="68ac195b-011b-467c-86d4-321df89323d0" providerId="ADAL" clId="{30C8E33C-321C-418E-8B3B-128591160133}"/>
    <pc:docChg chg="undo redo custSel addSld delSld modSld sldOrd">
      <pc:chgData name="Otavio Augusto Sabia Gava" userId="68ac195b-011b-467c-86d4-321df89323d0" providerId="ADAL" clId="{30C8E33C-321C-418E-8B3B-128591160133}" dt="2024-04-15T22:24:59.854" v="2261" actId="478"/>
      <pc:docMkLst>
        <pc:docMk/>
      </pc:docMkLst>
      <pc:sldChg chg="del">
        <pc:chgData name="Otavio Augusto Sabia Gava" userId="68ac195b-011b-467c-86d4-321df89323d0" providerId="ADAL" clId="{30C8E33C-321C-418E-8B3B-128591160133}" dt="2024-04-09T20:32:55.698" v="1" actId="47"/>
        <pc:sldMkLst>
          <pc:docMk/>
          <pc:sldMk cId="1224926455" sldId="340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2845109669" sldId="361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1566175729" sldId="362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1330509899" sldId="363"/>
        </pc:sldMkLst>
      </pc:sldChg>
      <pc:sldChg chg="add del setBg">
        <pc:chgData name="Otavio Augusto Sabia Gava" userId="68ac195b-011b-467c-86d4-321df89323d0" providerId="ADAL" clId="{30C8E33C-321C-418E-8B3B-128591160133}" dt="2024-04-10T14:34:46.781" v="1754" actId="47"/>
        <pc:sldMkLst>
          <pc:docMk/>
          <pc:sldMk cId="3314861916" sldId="870"/>
        </pc:sldMkLst>
      </pc:sldChg>
      <pc:sldChg chg="del">
        <pc:chgData name="Otavio Augusto Sabia Gava" userId="68ac195b-011b-467c-86d4-321df89323d0" providerId="ADAL" clId="{30C8E33C-321C-418E-8B3B-128591160133}" dt="2024-04-10T12:20:29.701" v="1210" actId="47"/>
        <pc:sldMkLst>
          <pc:docMk/>
          <pc:sldMk cId="2857837861" sldId="1130"/>
        </pc:sldMkLst>
      </pc:sldChg>
      <pc:sldChg chg="del">
        <pc:chgData name="Otavio Augusto Sabia Gava" userId="68ac195b-011b-467c-86d4-321df89323d0" providerId="ADAL" clId="{30C8E33C-321C-418E-8B3B-128591160133}" dt="2024-04-09T20:32:56.626" v="2" actId="47"/>
        <pc:sldMkLst>
          <pc:docMk/>
          <pc:sldMk cId="3901137987" sldId="1177"/>
        </pc:sldMkLst>
      </pc:sldChg>
      <pc:sldChg chg="del">
        <pc:chgData name="Otavio Augusto Sabia Gava" userId="68ac195b-011b-467c-86d4-321df89323d0" providerId="ADAL" clId="{30C8E33C-321C-418E-8B3B-128591160133}" dt="2024-04-10T14:38:35.495" v="1798" actId="47"/>
        <pc:sldMkLst>
          <pc:docMk/>
          <pc:sldMk cId="2602063549" sldId="1178"/>
        </pc:sldMkLst>
      </pc:sldChg>
      <pc:sldChg chg="del">
        <pc:chgData name="Otavio Augusto Sabia Gava" userId="68ac195b-011b-467c-86d4-321df89323d0" providerId="ADAL" clId="{30C8E33C-321C-418E-8B3B-128591160133}" dt="2024-04-10T12:20:26.200" v="1202" actId="47"/>
        <pc:sldMkLst>
          <pc:docMk/>
          <pc:sldMk cId="850326295" sldId="1179"/>
        </pc:sldMkLst>
      </pc:sldChg>
      <pc:sldChg chg="del">
        <pc:chgData name="Otavio Augusto Sabia Gava" userId="68ac195b-011b-467c-86d4-321df89323d0" providerId="ADAL" clId="{30C8E33C-321C-418E-8B3B-128591160133}" dt="2024-04-10T12:20:34.754" v="1226" actId="47"/>
        <pc:sldMkLst>
          <pc:docMk/>
          <pc:sldMk cId="881352458" sldId="1180"/>
        </pc:sldMkLst>
      </pc:sldChg>
      <pc:sldChg chg="del">
        <pc:chgData name="Otavio Augusto Sabia Gava" userId="68ac195b-011b-467c-86d4-321df89323d0" providerId="ADAL" clId="{30C8E33C-321C-418E-8B3B-128591160133}" dt="2024-04-10T12:20:35.397" v="1227" actId="47"/>
        <pc:sldMkLst>
          <pc:docMk/>
          <pc:sldMk cId="2302430854" sldId="1181"/>
        </pc:sldMkLst>
      </pc:sldChg>
      <pc:sldChg chg="del">
        <pc:chgData name="Otavio Augusto Sabia Gava" userId="68ac195b-011b-467c-86d4-321df89323d0" providerId="ADAL" clId="{30C8E33C-321C-418E-8B3B-128591160133}" dt="2024-04-10T12:20:34.596" v="1225" actId="47"/>
        <pc:sldMkLst>
          <pc:docMk/>
          <pc:sldMk cId="1751228654" sldId="1182"/>
        </pc:sldMkLst>
      </pc:sldChg>
      <pc:sldChg chg="del">
        <pc:chgData name="Otavio Augusto Sabia Gava" userId="68ac195b-011b-467c-86d4-321df89323d0" providerId="ADAL" clId="{30C8E33C-321C-418E-8B3B-128591160133}" dt="2024-04-10T12:20:35.507" v="1228" actId="47"/>
        <pc:sldMkLst>
          <pc:docMk/>
          <pc:sldMk cId="2996781954" sldId="1183"/>
        </pc:sldMkLst>
      </pc:sldChg>
      <pc:sldChg chg="del">
        <pc:chgData name="Otavio Augusto Sabia Gava" userId="68ac195b-011b-467c-86d4-321df89323d0" providerId="ADAL" clId="{30C8E33C-321C-418E-8B3B-128591160133}" dt="2024-04-10T12:20:35.679" v="1229" actId="47"/>
        <pc:sldMkLst>
          <pc:docMk/>
          <pc:sldMk cId="179159656" sldId="1184"/>
        </pc:sldMkLst>
      </pc:sldChg>
      <pc:sldChg chg="del">
        <pc:chgData name="Otavio Augusto Sabia Gava" userId="68ac195b-011b-467c-86d4-321df89323d0" providerId="ADAL" clId="{30C8E33C-321C-418E-8B3B-128591160133}" dt="2024-04-10T12:20:35.804" v="1230" actId="47"/>
        <pc:sldMkLst>
          <pc:docMk/>
          <pc:sldMk cId="4084968575" sldId="1185"/>
        </pc:sldMkLst>
      </pc:sldChg>
      <pc:sldChg chg="del">
        <pc:chgData name="Otavio Augusto Sabia Gava" userId="68ac195b-011b-467c-86d4-321df89323d0" providerId="ADAL" clId="{30C8E33C-321C-418E-8B3B-128591160133}" dt="2024-04-10T12:20:36.150" v="1232" actId="47"/>
        <pc:sldMkLst>
          <pc:docMk/>
          <pc:sldMk cId="1793372239" sldId="1186"/>
        </pc:sldMkLst>
      </pc:sldChg>
      <pc:sldChg chg="del">
        <pc:chgData name="Otavio Augusto Sabia Gava" userId="68ac195b-011b-467c-86d4-321df89323d0" providerId="ADAL" clId="{30C8E33C-321C-418E-8B3B-128591160133}" dt="2024-04-10T12:20:36.056" v="1231" actId="47"/>
        <pc:sldMkLst>
          <pc:docMk/>
          <pc:sldMk cId="1869207283" sldId="1188"/>
        </pc:sldMkLst>
      </pc:sldChg>
      <pc:sldChg chg="del">
        <pc:chgData name="Otavio Augusto Sabia Gava" userId="68ac195b-011b-467c-86d4-321df89323d0" providerId="ADAL" clId="{30C8E33C-321C-418E-8B3B-128591160133}" dt="2024-04-10T12:20:33.922" v="1223" actId="47"/>
        <pc:sldMkLst>
          <pc:docMk/>
          <pc:sldMk cId="4122750126" sldId="1189"/>
        </pc:sldMkLst>
      </pc:sldChg>
      <pc:sldChg chg="addSp delSp modSp mod">
        <pc:chgData name="Otavio Augusto Sabia Gava" userId="68ac195b-011b-467c-86d4-321df89323d0" providerId="ADAL" clId="{30C8E33C-321C-418E-8B3B-128591160133}" dt="2024-04-09T21:07:21.183" v="432" actId="207"/>
        <pc:sldMkLst>
          <pc:docMk/>
          <pc:sldMk cId="628515252" sldId="1302"/>
        </pc:sldMkLst>
        <pc:spChg chg="mod">
          <ac:chgData name="Otavio Augusto Sabia Gava" userId="68ac195b-011b-467c-86d4-321df89323d0" providerId="ADAL" clId="{30C8E33C-321C-418E-8B3B-128591160133}" dt="2024-04-09T20:35:23.442" v="30"/>
          <ac:spMkLst>
            <pc:docMk/>
            <pc:sldMk cId="628515252" sldId="1302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30C8E33C-321C-418E-8B3B-128591160133}" dt="2024-04-09T20:41:10.851" v="71" actId="2711"/>
          <ac:spMkLst>
            <pc:docMk/>
            <pc:sldMk cId="628515252" sldId="1302"/>
            <ac:spMk id="6" creationId="{C2C3C771-D008-4C33-A760-03865DFCD366}"/>
          </ac:spMkLst>
        </pc:spChg>
        <pc:spChg chg="add mod">
          <ac:chgData name="Otavio Augusto Sabia Gava" userId="68ac195b-011b-467c-86d4-321df89323d0" providerId="ADAL" clId="{30C8E33C-321C-418E-8B3B-128591160133}" dt="2024-04-09T21:07:12.843" v="429" actId="207"/>
          <ac:spMkLst>
            <pc:docMk/>
            <pc:sldMk cId="628515252" sldId="1302"/>
            <ac:spMk id="10" creationId="{DD1283D8-7F28-911E-017C-A14642C69E2D}"/>
          </ac:spMkLst>
        </pc:spChg>
        <pc:spChg chg="add mod">
          <ac:chgData name="Otavio Augusto Sabia Gava" userId="68ac195b-011b-467c-86d4-321df89323d0" providerId="ADAL" clId="{30C8E33C-321C-418E-8B3B-128591160133}" dt="2024-04-09T21:07:17.632" v="431" actId="207"/>
          <ac:spMkLst>
            <pc:docMk/>
            <pc:sldMk cId="628515252" sldId="1302"/>
            <ac:spMk id="11" creationId="{B7C51F77-59DF-0A6C-8C69-FEE6BD36D94A}"/>
          </ac:spMkLst>
        </pc:spChg>
        <pc:spChg chg="add mod">
          <ac:chgData name="Otavio Augusto Sabia Gava" userId="68ac195b-011b-467c-86d4-321df89323d0" providerId="ADAL" clId="{30C8E33C-321C-418E-8B3B-128591160133}" dt="2024-04-09T21:07:15.360" v="430" actId="207"/>
          <ac:spMkLst>
            <pc:docMk/>
            <pc:sldMk cId="628515252" sldId="1302"/>
            <ac:spMk id="13" creationId="{47723EC5-9861-6D6A-E4A6-B1B4FB07C802}"/>
          </ac:spMkLst>
        </pc:spChg>
        <pc:spChg chg="add mod">
          <ac:chgData name="Otavio Augusto Sabia Gava" userId="68ac195b-011b-467c-86d4-321df89323d0" providerId="ADAL" clId="{30C8E33C-321C-418E-8B3B-128591160133}" dt="2024-04-09T21:07:21.183" v="432" actId="207"/>
          <ac:spMkLst>
            <pc:docMk/>
            <pc:sldMk cId="628515252" sldId="1302"/>
            <ac:spMk id="14" creationId="{90492028-DDFD-884A-AA17-78D2BFBA625C}"/>
          </ac:spMkLst>
        </pc:spChg>
        <pc:spChg chg="add mod">
          <ac:chgData name="Otavio Augusto Sabia Gava" userId="68ac195b-011b-467c-86d4-321df89323d0" providerId="ADAL" clId="{30C8E33C-321C-418E-8B3B-128591160133}" dt="2024-04-09T20:41:30.051" v="78" actId="403"/>
          <ac:spMkLst>
            <pc:docMk/>
            <pc:sldMk cId="628515252" sldId="1302"/>
            <ac:spMk id="15" creationId="{A3C40D68-8F61-7D7F-26C4-4164645D325C}"/>
          </ac:spMkLst>
        </pc:spChg>
        <pc:spChg chg="add mod">
          <ac:chgData name="Otavio Augusto Sabia Gava" userId="68ac195b-011b-467c-86d4-321df89323d0" providerId="ADAL" clId="{30C8E33C-321C-418E-8B3B-128591160133}" dt="2024-04-09T20:41:33.958" v="80" actId="403"/>
          <ac:spMkLst>
            <pc:docMk/>
            <pc:sldMk cId="628515252" sldId="1302"/>
            <ac:spMk id="16" creationId="{B224412A-3AAE-06BA-67F9-7CE70B9E859F}"/>
          </ac:spMkLst>
        </pc:spChg>
        <pc:spChg chg="add mod">
          <ac:chgData name="Otavio Augusto Sabia Gava" userId="68ac195b-011b-467c-86d4-321df89323d0" providerId="ADAL" clId="{30C8E33C-321C-418E-8B3B-128591160133}" dt="2024-04-09T20:41:25.319" v="76" actId="403"/>
          <ac:spMkLst>
            <pc:docMk/>
            <pc:sldMk cId="628515252" sldId="1302"/>
            <ac:spMk id="17" creationId="{5916FEF2-345F-7CBB-BA7C-82E6E5B52361}"/>
          </ac:spMkLst>
        </pc:spChg>
        <pc:spChg chg="add mod">
          <ac:chgData name="Otavio Augusto Sabia Gava" userId="68ac195b-011b-467c-86d4-321df89323d0" providerId="ADAL" clId="{30C8E33C-321C-418E-8B3B-128591160133}" dt="2024-04-09T20:41:21.449" v="74" actId="404"/>
          <ac:spMkLst>
            <pc:docMk/>
            <pc:sldMk cId="628515252" sldId="1302"/>
            <ac:spMk id="23" creationId="{B5CCA419-F16A-3F41-3BAE-1A8535401D9E}"/>
          </ac:spMkLst>
        </pc:spChg>
        <pc:spChg chg="add mod">
          <ac:chgData name="Otavio Augusto Sabia Gava" userId="68ac195b-011b-467c-86d4-321df89323d0" providerId="ADAL" clId="{30C8E33C-321C-418E-8B3B-128591160133}" dt="2024-04-09T20:40:23.399" v="69" actId="1076"/>
          <ac:spMkLst>
            <pc:docMk/>
            <pc:sldMk cId="628515252" sldId="1302"/>
            <ac:spMk id="28" creationId="{FE900F3A-61B6-E16E-E590-6837F81A7796}"/>
          </ac:spMkLst>
        </pc:spChg>
        <pc:spChg chg="add mod">
          <ac:chgData name="Otavio Augusto Sabia Gava" userId="68ac195b-011b-467c-86d4-321df89323d0" providerId="ADAL" clId="{30C8E33C-321C-418E-8B3B-128591160133}" dt="2024-04-09T20:40:05.155" v="66" actId="1036"/>
          <ac:spMkLst>
            <pc:docMk/>
            <pc:sldMk cId="628515252" sldId="1302"/>
            <ac:spMk id="29" creationId="{A86A1281-2BE1-6B6F-1EB4-D751F16ECA53}"/>
          </ac:spMkLst>
        </pc:spChg>
        <pc:spChg chg="add mod">
          <ac:chgData name="Otavio Augusto Sabia Gava" userId="68ac195b-011b-467c-86d4-321df89323d0" providerId="ADAL" clId="{30C8E33C-321C-418E-8B3B-128591160133}" dt="2024-04-09T20:40:05.155" v="66" actId="1036"/>
          <ac:spMkLst>
            <pc:docMk/>
            <pc:sldMk cId="628515252" sldId="1302"/>
            <ac:spMk id="30" creationId="{39F4FACF-E2A7-406F-74CA-2A7BE0CDD9DD}"/>
          </ac:spMkLst>
        </pc:spChg>
        <pc:spChg chg="add mod">
          <ac:chgData name="Otavio Augusto Sabia Gava" userId="68ac195b-011b-467c-86d4-321df89323d0" providerId="ADAL" clId="{30C8E33C-321C-418E-8B3B-128591160133}" dt="2024-04-09T20:40:05.155" v="66" actId="1036"/>
          <ac:spMkLst>
            <pc:docMk/>
            <pc:sldMk cId="628515252" sldId="1302"/>
            <ac:spMk id="32" creationId="{7C9D862D-0D11-0802-57EE-F254475B6ECD}"/>
          </ac:spMkLst>
        </pc:spChg>
        <pc:spChg chg="add mod">
          <ac:chgData name="Otavio Augusto Sabia Gava" userId="68ac195b-011b-467c-86d4-321df89323d0" providerId="ADAL" clId="{30C8E33C-321C-418E-8B3B-128591160133}" dt="2024-04-09T20:40:05.155" v="66" actId="1036"/>
          <ac:spMkLst>
            <pc:docMk/>
            <pc:sldMk cId="628515252" sldId="1302"/>
            <ac:spMk id="33" creationId="{90F8B515-4EFC-74B3-4FB9-A74D162EA0D7}"/>
          </ac:spMkLst>
        </pc:spChg>
        <pc:grpChg chg="del">
          <ac:chgData name="Otavio Augusto Sabia Gava" userId="68ac195b-011b-467c-86d4-321df89323d0" providerId="ADAL" clId="{30C8E33C-321C-418E-8B3B-128591160133}" dt="2024-04-09T20:36:37.163" v="41" actId="478"/>
          <ac:grpSpMkLst>
            <pc:docMk/>
            <pc:sldMk cId="628515252" sldId="1302"/>
            <ac:grpSpMk id="3" creationId="{37AB1405-4308-0B0F-0B83-FF384B476C7C}"/>
          </ac:grpSpMkLst>
        </pc:grpChg>
        <pc:grpChg chg="del">
          <ac:chgData name="Otavio Augusto Sabia Gava" userId="68ac195b-011b-467c-86d4-321df89323d0" providerId="ADAL" clId="{30C8E33C-321C-418E-8B3B-128591160133}" dt="2024-04-09T20:36:34.005" v="40" actId="478"/>
          <ac:grpSpMkLst>
            <pc:docMk/>
            <pc:sldMk cId="628515252" sldId="1302"/>
            <ac:grpSpMk id="1024" creationId="{F746C2A5-F86A-A34E-2489-26E034DDE8BB}"/>
          </ac:grpSpMkLst>
        </pc:grp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7" creationId="{CAE04E47-632E-CE71-5B74-9258DD02754E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8" creationId="{BFA7A9F0-6BBC-CEA4-9574-F5D46186BA85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9" creationId="{2E1B6CE4-AD9C-A07E-F52F-6E002BCA171C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18" creationId="{7ECD4A57-8083-3517-A373-4F0FE76AFF71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19" creationId="{D0B1FDCA-C64D-C621-F3DD-543E9F6C4598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0" creationId="{7C0412F2-DDBA-D039-C8B6-26AD7137EC21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1" creationId="{0ADBCC4C-032A-0D3F-87CC-341594BDCDC6}"/>
          </ac:cxnSpMkLst>
        </pc:cxnChg>
        <pc:cxnChg chg="add mod">
          <ac:chgData name="Otavio Augusto Sabia Gava" userId="68ac195b-011b-467c-86d4-321df89323d0" providerId="ADAL" clId="{30C8E33C-321C-418E-8B3B-128591160133}" dt="2024-04-09T20:41:49.688" v="81" actId="208"/>
          <ac:cxnSpMkLst>
            <pc:docMk/>
            <pc:sldMk cId="628515252" sldId="1302"/>
            <ac:cxnSpMk id="22" creationId="{ACECA322-E114-D55B-94DC-5F287CF03A18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4" creationId="{FDAF9DA7-8EA9-8F47-80B2-63CB0F1DD2BD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5" creationId="{7FACB4ED-32B7-6BF0-E08E-57DF423FA9B2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6" creationId="{FDD1FBAF-CB2A-5A28-DC92-23FDAF3F2DA4}"/>
          </ac:cxnSpMkLst>
        </pc:cxnChg>
        <pc:cxnChg chg="add mod">
          <ac:chgData name="Otavio Augusto Sabia Gava" userId="68ac195b-011b-467c-86d4-321df89323d0" providerId="ADAL" clId="{30C8E33C-321C-418E-8B3B-128591160133}" dt="2024-04-09T20:40:05.155" v="66" actId="1036"/>
          <ac:cxnSpMkLst>
            <pc:docMk/>
            <pc:sldMk cId="628515252" sldId="1302"/>
            <ac:cxnSpMk id="27" creationId="{7F21762A-0C59-64E2-3EAA-937FA5A72D45}"/>
          </ac:cxnSpMkLst>
        </pc:cxnChg>
        <pc:cxnChg chg="add mod">
          <ac:chgData name="Otavio Augusto Sabia Gava" userId="68ac195b-011b-467c-86d4-321df89323d0" providerId="ADAL" clId="{30C8E33C-321C-418E-8B3B-128591160133}" dt="2024-04-09T20:41:49.688" v="81" actId="208"/>
          <ac:cxnSpMkLst>
            <pc:docMk/>
            <pc:sldMk cId="628515252" sldId="1302"/>
            <ac:cxnSpMk id="31" creationId="{AEE31EC8-2B48-4EE6-EC2A-DD3FD466407A}"/>
          </ac:cxnSpMkLst>
        </pc:cxnChg>
      </pc:sldChg>
      <pc:sldChg chg="del">
        <pc:chgData name="Otavio Augusto Sabia Gava" userId="68ac195b-011b-467c-86d4-321df89323d0" providerId="ADAL" clId="{30C8E33C-321C-418E-8B3B-128591160133}" dt="2024-04-10T12:20:32.086" v="1218" actId="47"/>
        <pc:sldMkLst>
          <pc:docMk/>
          <pc:sldMk cId="1272869818" sldId="1306"/>
        </pc:sldMkLst>
      </pc:sldChg>
      <pc:sldChg chg="del">
        <pc:chgData name="Otavio Augusto Sabia Gava" userId="68ac195b-011b-467c-86d4-321df89323d0" providerId="ADAL" clId="{30C8E33C-321C-418E-8B3B-128591160133}" dt="2024-04-10T12:20:30.156" v="1212" actId="47"/>
        <pc:sldMkLst>
          <pc:docMk/>
          <pc:sldMk cId="2392139736" sldId="1365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273265464" sldId="2626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1978942788" sldId="2723"/>
        </pc:sldMkLst>
      </pc:sldChg>
      <pc:sldChg chg="del">
        <pc:chgData name="Otavio Augusto Sabia Gava" userId="68ac195b-011b-467c-86d4-321df89323d0" providerId="ADAL" clId="{30C8E33C-321C-418E-8B3B-128591160133}" dt="2024-04-10T12:20:27.581" v="1205" actId="47"/>
        <pc:sldMkLst>
          <pc:docMk/>
          <pc:sldMk cId="3906586860" sldId="2865"/>
        </pc:sldMkLst>
      </pc:sldChg>
      <pc:sldChg chg="del">
        <pc:chgData name="Otavio Augusto Sabia Gava" userId="68ac195b-011b-467c-86d4-321df89323d0" providerId="ADAL" clId="{30C8E33C-321C-418E-8B3B-128591160133}" dt="2024-04-10T12:20:33.608" v="1221" actId="47"/>
        <pc:sldMkLst>
          <pc:docMk/>
          <pc:sldMk cId="3298356342" sldId="2866"/>
        </pc:sldMkLst>
      </pc:sldChg>
      <pc:sldChg chg="del">
        <pc:chgData name="Otavio Augusto Sabia Gava" userId="68ac195b-011b-467c-86d4-321df89323d0" providerId="ADAL" clId="{30C8E33C-321C-418E-8B3B-128591160133}" dt="2024-04-10T12:20:30.894" v="1216" actId="47"/>
        <pc:sldMkLst>
          <pc:docMk/>
          <pc:sldMk cId="3621315440" sldId="2906"/>
        </pc:sldMkLst>
      </pc:sldChg>
      <pc:sldChg chg="del">
        <pc:chgData name="Otavio Augusto Sabia Gava" userId="68ac195b-011b-467c-86d4-321df89323d0" providerId="ADAL" clId="{30C8E33C-321C-418E-8B3B-128591160133}" dt="2024-04-10T12:20:31.317" v="1217" actId="47"/>
        <pc:sldMkLst>
          <pc:docMk/>
          <pc:sldMk cId="1268480979" sldId="2909"/>
        </pc:sldMkLst>
      </pc:sldChg>
      <pc:sldChg chg="addSp delSp modSp add mod">
        <pc:chgData name="Otavio Augusto Sabia Gava" userId="68ac195b-011b-467c-86d4-321df89323d0" providerId="ADAL" clId="{30C8E33C-321C-418E-8B3B-128591160133}" dt="2024-04-15T22:24:59.854" v="2261" actId="478"/>
        <pc:sldMkLst>
          <pc:docMk/>
          <pc:sldMk cId="2612270740" sldId="2950"/>
        </pc:sldMkLst>
        <pc:spChg chg="add del mod">
          <ac:chgData name="Otavio Augusto Sabia Gava" userId="68ac195b-011b-467c-86d4-321df89323d0" providerId="ADAL" clId="{30C8E33C-321C-418E-8B3B-128591160133}" dt="2024-04-15T22:24:59.854" v="2261" actId="478"/>
          <ac:spMkLst>
            <pc:docMk/>
            <pc:sldMk cId="2612270740" sldId="2950"/>
            <ac:spMk id="3" creationId="{921AD24B-445F-A523-3976-7E59634C833C}"/>
          </ac:spMkLst>
        </pc:spChg>
        <pc:spChg chg="del">
          <ac:chgData name="Otavio Augusto Sabia Gava" userId="68ac195b-011b-467c-86d4-321df89323d0" providerId="ADAL" clId="{30C8E33C-321C-418E-8B3B-128591160133}" dt="2024-04-15T22:24:58.458" v="2260" actId="478"/>
          <ac:spMkLst>
            <pc:docMk/>
            <pc:sldMk cId="2612270740" sldId="2950"/>
            <ac:spMk id="5" creationId="{00000000-0000-0000-0000-000000000000}"/>
          </ac:spMkLst>
        </pc:spChg>
      </pc:sldChg>
      <pc:sldChg chg="del">
        <pc:chgData name="Otavio Augusto Sabia Gava" userId="68ac195b-011b-467c-86d4-321df89323d0" providerId="ADAL" clId="{30C8E33C-321C-418E-8B3B-128591160133}" dt="2024-04-10T12:20:26.907" v="1203" actId="47"/>
        <pc:sldMkLst>
          <pc:docMk/>
          <pc:sldMk cId="2134159956" sldId="2959"/>
        </pc:sldMkLst>
      </pc:sldChg>
      <pc:sldChg chg="del">
        <pc:chgData name="Otavio Augusto Sabia Gava" userId="68ac195b-011b-467c-86d4-321df89323d0" providerId="ADAL" clId="{30C8E33C-321C-418E-8B3B-128591160133}" dt="2024-04-10T12:20:33.765" v="1222" actId="47"/>
        <pc:sldMkLst>
          <pc:docMk/>
          <pc:sldMk cId="2663045011" sldId="2984"/>
        </pc:sldMkLst>
      </pc:sldChg>
      <pc:sldChg chg="del">
        <pc:chgData name="Otavio Augusto Sabia Gava" userId="68ac195b-011b-467c-86d4-321df89323d0" providerId="ADAL" clId="{30C8E33C-321C-418E-8B3B-128591160133}" dt="2024-04-10T12:20:28.681" v="1208" actId="47"/>
        <pc:sldMkLst>
          <pc:docMk/>
          <pc:sldMk cId="1731707379" sldId="2999"/>
        </pc:sldMkLst>
      </pc:sldChg>
      <pc:sldChg chg="del">
        <pc:chgData name="Otavio Augusto Sabia Gava" userId="68ac195b-011b-467c-86d4-321df89323d0" providerId="ADAL" clId="{30C8E33C-321C-418E-8B3B-128591160133}" dt="2024-04-10T12:20:29.371" v="1209" actId="47"/>
        <pc:sldMkLst>
          <pc:docMk/>
          <pc:sldMk cId="2498501827" sldId="3000"/>
        </pc:sldMkLst>
      </pc:sldChg>
      <pc:sldChg chg="del">
        <pc:chgData name="Otavio Augusto Sabia Gava" userId="68ac195b-011b-467c-86d4-321df89323d0" providerId="ADAL" clId="{30C8E33C-321C-418E-8B3B-128591160133}" dt="2024-04-10T12:20:34.518" v="1224" actId="47"/>
        <pc:sldMkLst>
          <pc:docMk/>
          <pc:sldMk cId="3825079526" sldId="3001"/>
        </pc:sldMkLst>
      </pc:sldChg>
      <pc:sldChg chg="del">
        <pc:chgData name="Otavio Augusto Sabia Gava" userId="68ac195b-011b-467c-86d4-321df89323d0" providerId="ADAL" clId="{30C8E33C-321C-418E-8B3B-128591160133}" dt="2024-04-10T12:20:28.555" v="1207" actId="47"/>
        <pc:sldMkLst>
          <pc:docMk/>
          <pc:sldMk cId="820196488" sldId="3002"/>
        </pc:sldMkLst>
      </pc:sldChg>
      <pc:sldChg chg="del">
        <pc:chgData name="Otavio Augusto Sabia Gava" userId="68ac195b-011b-467c-86d4-321df89323d0" providerId="ADAL" clId="{30C8E33C-321C-418E-8B3B-128591160133}" dt="2024-04-10T12:20:33.279" v="1219" actId="47"/>
        <pc:sldMkLst>
          <pc:docMk/>
          <pc:sldMk cId="207592446" sldId="3003"/>
        </pc:sldMkLst>
      </pc:sldChg>
      <pc:sldChg chg="del">
        <pc:chgData name="Otavio Augusto Sabia Gava" userId="68ac195b-011b-467c-86d4-321df89323d0" providerId="ADAL" clId="{30C8E33C-321C-418E-8B3B-128591160133}" dt="2024-04-10T12:20:33.357" v="1220" actId="47"/>
        <pc:sldMkLst>
          <pc:docMk/>
          <pc:sldMk cId="1247452186" sldId="3004"/>
        </pc:sldMkLst>
      </pc:sldChg>
      <pc:sldChg chg="del">
        <pc:chgData name="Otavio Augusto Sabia Gava" userId="68ac195b-011b-467c-86d4-321df89323d0" providerId="ADAL" clId="{30C8E33C-321C-418E-8B3B-128591160133}" dt="2024-04-10T12:20:30.344" v="1213" actId="47"/>
        <pc:sldMkLst>
          <pc:docMk/>
          <pc:sldMk cId="1490789898" sldId="3006"/>
        </pc:sldMkLst>
      </pc:sldChg>
      <pc:sldChg chg="del">
        <pc:chgData name="Otavio Augusto Sabia Gava" userId="68ac195b-011b-467c-86d4-321df89323d0" providerId="ADAL" clId="{30C8E33C-321C-418E-8B3B-128591160133}" dt="2024-04-10T12:20:30.501" v="1214" actId="47"/>
        <pc:sldMkLst>
          <pc:docMk/>
          <pc:sldMk cId="3268188350" sldId="3009"/>
        </pc:sldMkLst>
      </pc:sldChg>
      <pc:sldChg chg="del">
        <pc:chgData name="Otavio Augusto Sabia Gava" userId="68ac195b-011b-467c-86d4-321df89323d0" providerId="ADAL" clId="{30C8E33C-321C-418E-8B3B-128591160133}" dt="2024-04-10T12:20:30.705" v="1215" actId="47"/>
        <pc:sldMkLst>
          <pc:docMk/>
          <pc:sldMk cId="3488698688" sldId="3011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4039958725" sldId="3012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3488331782" sldId="3018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1914204330" sldId="3020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2544188981" sldId="3022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1023591620" sldId="3023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4058232993" sldId="3024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2844950218" sldId="3025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942987416" sldId="3027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491092627" sldId="3028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2246119239" sldId="3033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4101801909" sldId="3034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3872028945" sldId="3037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401339475" sldId="3039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1966984107" sldId="3041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849654393" sldId="3042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3511466305" sldId="3043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2220478638" sldId="3045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3233488312" sldId="3046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2037393113" sldId="3047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3020635361" sldId="3048"/>
        </pc:sldMkLst>
      </pc:sldChg>
      <pc:sldChg chg="del">
        <pc:chgData name="Otavio Augusto Sabia Gava" userId="68ac195b-011b-467c-86d4-321df89323d0" providerId="ADAL" clId="{30C8E33C-321C-418E-8B3B-128591160133}" dt="2024-04-10T12:20:27.299" v="1204" actId="47"/>
        <pc:sldMkLst>
          <pc:docMk/>
          <pc:sldMk cId="2821593105" sldId="3049"/>
        </pc:sldMkLst>
      </pc:sldChg>
      <pc:sldChg chg="del">
        <pc:chgData name="Otavio Augusto Sabia Gava" userId="68ac195b-011b-467c-86d4-321df89323d0" providerId="ADAL" clId="{30C8E33C-321C-418E-8B3B-128591160133}" dt="2024-04-09T20:32:57.491" v="3" actId="47"/>
        <pc:sldMkLst>
          <pc:docMk/>
          <pc:sldMk cId="1557702845" sldId="3050"/>
        </pc:sldMkLst>
      </pc:sldChg>
      <pc:sldChg chg="del">
        <pc:chgData name="Otavio Augusto Sabia Gava" userId="68ac195b-011b-467c-86d4-321df89323d0" providerId="ADAL" clId="{30C8E33C-321C-418E-8B3B-128591160133}" dt="2024-04-10T12:20:27.785" v="1206" actId="47"/>
        <pc:sldMkLst>
          <pc:docMk/>
          <pc:sldMk cId="3095588375" sldId="3051"/>
        </pc:sldMkLst>
      </pc:sldChg>
      <pc:sldChg chg="del">
        <pc:chgData name="Otavio Augusto Sabia Gava" userId="68ac195b-011b-467c-86d4-321df89323d0" providerId="ADAL" clId="{30C8E33C-321C-418E-8B3B-128591160133}" dt="2024-04-10T12:20:40.088" v="1233" actId="47"/>
        <pc:sldMkLst>
          <pc:docMk/>
          <pc:sldMk cId="3309520820" sldId="3053"/>
        </pc:sldMkLst>
      </pc:sldChg>
      <pc:sldChg chg="del">
        <pc:chgData name="Otavio Augusto Sabia Gava" userId="68ac195b-011b-467c-86d4-321df89323d0" providerId="ADAL" clId="{30C8E33C-321C-418E-8B3B-128591160133}" dt="2024-04-10T12:20:51.420" v="1234" actId="47"/>
        <pc:sldMkLst>
          <pc:docMk/>
          <pc:sldMk cId="1919002689" sldId="3054"/>
        </pc:sldMkLst>
      </pc:sldChg>
      <pc:sldChg chg="modSp add mod">
        <pc:chgData name="Otavio Augusto Sabia Gava" userId="68ac195b-011b-467c-86d4-321df89323d0" providerId="ADAL" clId="{30C8E33C-321C-418E-8B3B-128591160133}" dt="2024-04-10T12:21:16.665" v="1235" actId="14100"/>
        <pc:sldMkLst>
          <pc:docMk/>
          <pc:sldMk cId="1526916921" sldId="3055"/>
        </pc:sldMkLst>
        <pc:spChg chg="mod">
          <ac:chgData name="Otavio Augusto Sabia Gava" userId="68ac195b-011b-467c-86d4-321df89323d0" providerId="ADAL" clId="{30C8E33C-321C-418E-8B3B-128591160133}" dt="2024-04-10T12:21:16.665" v="1235" actId="14100"/>
          <ac:spMkLst>
            <pc:docMk/>
            <pc:sldMk cId="1526916921" sldId="3055"/>
            <ac:spMk id="41" creationId="{E5600530-C921-4DC0-A9CB-04B380C42B62}"/>
          </ac:spMkLst>
        </pc:spChg>
      </pc:sldChg>
      <pc:sldChg chg="add">
        <pc:chgData name="Otavio Augusto Sabia Gava" userId="68ac195b-011b-467c-86d4-321df89323d0" providerId="ADAL" clId="{30C8E33C-321C-418E-8B3B-128591160133}" dt="2024-04-09T20:32:53.211" v="0"/>
        <pc:sldMkLst>
          <pc:docMk/>
          <pc:sldMk cId="242849823" sldId="3056"/>
        </pc:sldMkLst>
      </pc:sldChg>
      <pc:sldChg chg="add del">
        <pc:chgData name="Otavio Augusto Sabia Gava" userId="68ac195b-011b-467c-86d4-321df89323d0" providerId="ADAL" clId="{30C8E33C-321C-418E-8B3B-128591160133}" dt="2024-04-09T20:33:08.531" v="5"/>
        <pc:sldMkLst>
          <pc:docMk/>
          <pc:sldMk cId="1620963601" sldId="3057"/>
        </pc:sldMkLst>
      </pc:sldChg>
      <pc:sldChg chg="addSp delSp modSp add mod">
        <pc:chgData name="Otavio Augusto Sabia Gava" userId="68ac195b-011b-467c-86d4-321df89323d0" providerId="ADAL" clId="{30C8E33C-321C-418E-8B3B-128591160133}" dt="2024-04-09T20:34:12.761" v="29" actId="478"/>
        <pc:sldMkLst>
          <pc:docMk/>
          <pc:sldMk cId="2073831914" sldId="3057"/>
        </pc:sldMkLst>
        <pc:spChg chg="del">
          <ac:chgData name="Otavio Augusto Sabia Gava" userId="68ac195b-011b-467c-86d4-321df89323d0" providerId="ADAL" clId="{30C8E33C-321C-418E-8B3B-128591160133}" dt="2024-04-09T20:33:39.643" v="8" actId="478"/>
          <ac:spMkLst>
            <pc:docMk/>
            <pc:sldMk cId="2073831914" sldId="3057"/>
            <ac:spMk id="2" creationId="{EFC3F0D3-8E2E-4278-981C-65864F6233C8}"/>
          </ac:spMkLst>
        </pc:spChg>
        <pc:spChg chg="del">
          <ac:chgData name="Otavio Augusto Sabia Gava" userId="68ac195b-011b-467c-86d4-321df89323d0" providerId="ADAL" clId="{30C8E33C-321C-418E-8B3B-128591160133}" dt="2024-04-09T20:33:40.780" v="9" actId="478"/>
          <ac:spMkLst>
            <pc:docMk/>
            <pc:sldMk cId="2073831914" sldId="3057"/>
            <ac:spMk id="3" creationId="{9973AD21-34CE-4BB7-B543-D82820144BA6}"/>
          </ac:spMkLst>
        </pc:spChg>
        <pc:spChg chg="add del mod">
          <ac:chgData name="Otavio Augusto Sabia Gava" userId="68ac195b-011b-467c-86d4-321df89323d0" providerId="ADAL" clId="{30C8E33C-321C-418E-8B3B-128591160133}" dt="2024-04-09T20:33:41.593" v="10" actId="478"/>
          <ac:spMkLst>
            <pc:docMk/>
            <pc:sldMk cId="2073831914" sldId="3057"/>
            <ac:spMk id="6" creationId="{8505B616-CF24-6B96-4F80-42E8C7EE94AC}"/>
          </ac:spMkLst>
        </pc:spChg>
        <pc:spChg chg="add del mod">
          <ac:chgData name="Otavio Augusto Sabia Gava" userId="68ac195b-011b-467c-86d4-321df89323d0" providerId="ADAL" clId="{30C8E33C-321C-418E-8B3B-128591160133}" dt="2024-04-09T20:33:43.497" v="11" actId="478"/>
          <ac:spMkLst>
            <pc:docMk/>
            <pc:sldMk cId="2073831914" sldId="3057"/>
            <ac:spMk id="9" creationId="{59DAF6E0-569C-9F55-3E14-D2475450786E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1" creationId="{7B39A3C8-0A85-4B70-8D05-19D864FDAB51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2" creationId="{C524CDFF-FB75-E702-2036-132EBDD6CF94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3" creationId="{B62A3DCD-C30F-99DD-5BF3-BE2FCF6D31B6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5" creationId="{6BCF1BBC-A758-C613-E644-888642196F8D}"/>
          </ac:spMkLst>
        </pc:spChg>
        <pc:spChg chg="add del mod">
          <ac:chgData name="Otavio Augusto Sabia Gava" userId="68ac195b-011b-467c-86d4-321df89323d0" providerId="ADAL" clId="{30C8E33C-321C-418E-8B3B-128591160133}" dt="2024-04-09T20:34:12.761" v="29" actId="478"/>
          <ac:spMkLst>
            <pc:docMk/>
            <pc:sldMk cId="2073831914" sldId="3057"/>
            <ac:spMk id="16" creationId="{35858E7C-5EAA-3EF2-34D9-495B829FD3ED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7" creationId="{C1329E3C-F0E5-54C1-3CE7-AEDB9A96B5AF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8" creationId="{A8256735-D1EF-F61D-F4D3-F8FD019E0919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19" creationId="{1359BFF2-32E2-9E4C-13EC-371532EE7383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20" creationId="{A8440AEA-1D27-8A99-13AE-DF92F6083EBA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21" creationId="{2D0DC9E5-3C55-98C1-DBC1-E6B8EA59C793}"/>
          </ac:spMkLst>
        </pc:spChg>
        <pc:spChg chg="add mod">
          <ac:chgData name="Otavio Augusto Sabia Gava" userId="68ac195b-011b-467c-86d4-321df89323d0" providerId="ADAL" clId="{30C8E33C-321C-418E-8B3B-128591160133}" dt="2024-04-09T20:33:43.854" v="12"/>
          <ac:spMkLst>
            <pc:docMk/>
            <pc:sldMk cId="2073831914" sldId="3057"/>
            <ac:spMk id="22" creationId="{4C587B32-45D7-ECCF-7EA4-4390A1AAF696}"/>
          </ac:spMkLst>
        </pc:spChg>
        <pc:spChg chg="add mod">
          <ac:chgData name="Otavio Augusto Sabia Gava" userId="68ac195b-011b-467c-86d4-321df89323d0" providerId="ADAL" clId="{30C8E33C-321C-418E-8B3B-128591160133}" dt="2024-04-09T20:34:09.862" v="28"/>
          <ac:spMkLst>
            <pc:docMk/>
            <pc:sldMk cId="2073831914" sldId="3057"/>
            <ac:spMk id="27" creationId="{82321021-66C6-7484-86CA-72225CE8E2C6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44" creationId="{CF102EAE-C0F3-4DB0-BE29-D543C36A72A2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46" creationId="{27570A36-FC6B-4EF6-9C36-7D30BEBD562B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47" creationId="{660CC414-0822-486B-B02E-752B10743EA0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48" creationId="{F2931493-BB1E-4322-A57E-A351EA9DEAEF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49" creationId="{2394E8D1-B3E7-494F-9C77-84474044C55C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62" creationId="{6A757EA7-DB09-48AA-A0F3-504EA96D6706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79" creationId="{26EF8B77-D302-48C9-A934-C62328830001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80" creationId="{CD242600-7C7C-4CF9-BA7E-9A2F659FA5F0}"/>
          </ac:spMkLst>
        </pc:spChg>
        <pc:spChg chg="del">
          <ac:chgData name="Otavio Augusto Sabia Gava" userId="68ac195b-011b-467c-86d4-321df89323d0" providerId="ADAL" clId="{30C8E33C-321C-418E-8B3B-128591160133}" dt="2024-04-09T20:33:15.514" v="7" actId="478"/>
          <ac:spMkLst>
            <pc:docMk/>
            <pc:sldMk cId="2073831914" sldId="3057"/>
            <ac:spMk id="81" creationId="{BF6358B8-5A86-4F38-AD4F-8147503912CD}"/>
          </ac:spMkLst>
        </pc:spChg>
        <pc:picChg chg="del">
          <ac:chgData name="Otavio Augusto Sabia Gava" userId="68ac195b-011b-467c-86d4-321df89323d0" providerId="ADAL" clId="{30C8E33C-321C-418E-8B3B-128591160133}" dt="2024-04-09T20:33:15.514" v="7" actId="478"/>
          <ac:picMkLst>
            <pc:docMk/>
            <pc:sldMk cId="2073831914" sldId="3057"/>
            <ac:picMk id="5" creationId="{AFD92AD5-046F-58AA-5E93-180F558E8D22}"/>
          </ac:picMkLst>
        </pc:picChg>
        <pc:picChg chg="del">
          <ac:chgData name="Otavio Augusto Sabia Gava" userId="68ac195b-011b-467c-86d4-321df89323d0" providerId="ADAL" clId="{30C8E33C-321C-418E-8B3B-128591160133}" dt="2024-04-09T20:33:15.514" v="7" actId="478"/>
          <ac:picMkLst>
            <pc:docMk/>
            <pc:sldMk cId="2073831914" sldId="3057"/>
            <ac:picMk id="7" creationId="{1FFD4C88-996D-8A03-5B19-8AB32279B70A}"/>
          </ac:picMkLst>
        </pc:picChg>
        <pc:picChg chg="del">
          <ac:chgData name="Otavio Augusto Sabia Gava" userId="68ac195b-011b-467c-86d4-321df89323d0" providerId="ADAL" clId="{30C8E33C-321C-418E-8B3B-128591160133}" dt="2024-04-09T20:33:15.514" v="7" actId="478"/>
          <ac:picMkLst>
            <pc:docMk/>
            <pc:sldMk cId="2073831914" sldId="3057"/>
            <ac:picMk id="10" creationId="{C706A27C-E038-07B4-174B-0C39A12C4720}"/>
          </ac:picMkLst>
        </pc:picChg>
        <pc:picChg chg="del">
          <ac:chgData name="Otavio Augusto Sabia Gava" userId="68ac195b-011b-467c-86d4-321df89323d0" providerId="ADAL" clId="{30C8E33C-321C-418E-8B3B-128591160133}" dt="2024-04-09T20:33:15.514" v="7" actId="478"/>
          <ac:picMkLst>
            <pc:docMk/>
            <pc:sldMk cId="2073831914" sldId="3057"/>
            <ac:picMk id="14" creationId="{F3B28D3D-A051-688C-A456-EE0A17531FB9}"/>
          </ac:picMkLst>
        </pc:picChg>
        <pc:picChg chg="add mod">
          <ac:chgData name="Otavio Augusto Sabia Gava" userId="68ac195b-011b-467c-86d4-321df89323d0" providerId="ADAL" clId="{30C8E33C-321C-418E-8B3B-128591160133}" dt="2024-04-09T20:33:43.854" v="12"/>
          <ac:picMkLst>
            <pc:docMk/>
            <pc:sldMk cId="2073831914" sldId="3057"/>
            <ac:picMk id="23" creationId="{2204B441-9BBD-683A-1B86-E280B236732C}"/>
          </ac:picMkLst>
        </pc:picChg>
        <pc:picChg chg="add mod">
          <ac:chgData name="Otavio Augusto Sabia Gava" userId="68ac195b-011b-467c-86d4-321df89323d0" providerId="ADAL" clId="{30C8E33C-321C-418E-8B3B-128591160133}" dt="2024-04-09T20:33:43.854" v="12"/>
          <ac:picMkLst>
            <pc:docMk/>
            <pc:sldMk cId="2073831914" sldId="3057"/>
            <ac:picMk id="24" creationId="{EB6D224A-696F-ACE1-2396-B09F1611E303}"/>
          </ac:picMkLst>
        </pc:picChg>
        <pc:picChg chg="add mod">
          <ac:chgData name="Otavio Augusto Sabia Gava" userId="68ac195b-011b-467c-86d4-321df89323d0" providerId="ADAL" clId="{30C8E33C-321C-418E-8B3B-128591160133}" dt="2024-04-09T20:33:43.854" v="12"/>
          <ac:picMkLst>
            <pc:docMk/>
            <pc:sldMk cId="2073831914" sldId="3057"/>
            <ac:picMk id="25" creationId="{2DB6C645-E538-6B67-35E9-D7E1ABC1B938}"/>
          </ac:picMkLst>
        </pc:picChg>
        <pc:picChg chg="add mod">
          <ac:chgData name="Otavio Augusto Sabia Gava" userId="68ac195b-011b-467c-86d4-321df89323d0" providerId="ADAL" clId="{30C8E33C-321C-418E-8B3B-128591160133}" dt="2024-04-09T20:33:43.854" v="12"/>
          <ac:picMkLst>
            <pc:docMk/>
            <pc:sldMk cId="2073831914" sldId="3057"/>
            <ac:picMk id="26" creationId="{5AF5A76D-05E6-B420-473C-027DC7A30EBF}"/>
          </ac:picMkLst>
        </pc:picChg>
      </pc:sldChg>
      <pc:sldChg chg="addSp delSp modSp add mod">
        <pc:chgData name="Otavio Augusto Sabia Gava" userId="68ac195b-011b-467c-86d4-321df89323d0" providerId="ADAL" clId="{30C8E33C-321C-418E-8B3B-128591160133}" dt="2024-04-15T20:46:59.970" v="1901" actId="2710"/>
        <pc:sldMkLst>
          <pc:docMk/>
          <pc:sldMk cId="2644412233" sldId="3058"/>
        </pc:sldMkLst>
        <pc:spChg chg="add mod">
          <ac:chgData name="Otavio Augusto Sabia Gava" userId="68ac195b-011b-467c-86d4-321df89323d0" providerId="ADAL" clId="{30C8E33C-321C-418E-8B3B-128591160133}" dt="2024-04-09T21:00:44.496" v="281" actId="1035"/>
          <ac:spMkLst>
            <pc:docMk/>
            <pc:sldMk cId="2644412233" sldId="3058"/>
            <ac:spMk id="2" creationId="{D0CD0A2C-126B-FC32-192C-A129B20EC256}"/>
          </ac:spMkLst>
        </pc:spChg>
        <pc:spChg chg="add mod">
          <ac:chgData name="Otavio Augusto Sabia Gava" userId="68ac195b-011b-467c-86d4-321df89323d0" providerId="ADAL" clId="{30C8E33C-321C-418E-8B3B-128591160133}" dt="2024-04-09T21:00:44.496" v="281" actId="1035"/>
          <ac:spMkLst>
            <pc:docMk/>
            <pc:sldMk cId="2644412233" sldId="3058"/>
            <ac:spMk id="3" creationId="{4BFC25A8-F8D3-6FCA-5802-7453CCDC6F37}"/>
          </ac:spMkLst>
        </pc:spChg>
        <pc:spChg chg="add mod">
          <ac:chgData name="Otavio Augusto Sabia Gava" userId="68ac195b-011b-467c-86d4-321df89323d0" providerId="ADAL" clId="{30C8E33C-321C-418E-8B3B-128591160133}" dt="2024-04-09T21:04:49.692" v="412" actId="20577"/>
          <ac:spMkLst>
            <pc:docMk/>
            <pc:sldMk cId="2644412233" sldId="3058"/>
            <ac:spMk id="4" creationId="{6038641D-067B-412B-E41D-19466CD7A85D}"/>
          </ac:spMkLst>
        </pc:spChg>
        <pc:spChg chg="mod">
          <ac:chgData name="Otavio Augusto Sabia Gava" userId="68ac195b-011b-467c-86d4-321df89323d0" providerId="ADAL" clId="{30C8E33C-321C-418E-8B3B-128591160133}" dt="2024-04-10T12:21:46.055" v="1237" actId="20577"/>
          <ac:spMkLst>
            <pc:docMk/>
            <pc:sldMk cId="2644412233" sldId="3058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30C8E33C-321C-418E-8B3B-128591160133}" dt="2024-04-09T21:00:38.573" v="265" actId="1035"/>
          <ac:spMkLst>
            <pc:docMk/>
            <pc:sldMk cId="2644412233" sldId="3058"/>
            <ac:spMk id="6" creationId="{C2C3C771-D008-4C33-A760-03865DFCD366}"/>
          </ac:spMkLst>
        </pc:spChg>
        <pc:spChg chg="add mod">
          <ac:chgData name="Otavio Augusto Sabia Gava" userId="68ac195b-011b-467c-86d4-321df89323d0" providerId="ADAL" clId="{30C8E33C-321C-418E-8B3B-128591160133}" dt="2024-04-09T21:00:44.496" v="281" actId="1035"/>
          <ac:spMkLst>
            <pc:docMk/>
            <pc:sldMk cId="2644412233" sldId="3058"/>
            <ac:spMk id="7" creationId="{95E57CF7-F645-0FA2-20CA-002A35C46215}"/>
          </ac:spMkLst>
        </pc:spChg>
        <pc:spChg chg="add mod">
          <ac:chgData name="Otavio Augusto Sabia Gava" userId="68ac195b-011b-467c-86d4-321df89323d0" providerId="ADAL" clId="{30C8E33C-321C-418E-8B3B-128591160133}" dt="2024-04-09T21:04:46.157" v="408" actId="20577"/>
          <ac:spMkLst>
            <pc:docMk/>
            <pc:sldMk cId="2644412233" sldId="3058"/>
            <ac:spMk id="8" creationId="{D68CCC62-9F89-278D-E11D-0A05BE8F879D}"/>
          </ac:spMkLst>
        </pc:spChg>
        <pc:spChg chg="add mod">
          <ac:chgData name="Otavio Augusto Sabia Gava" userId="68ac195b-011b-467c-86d4-321df89323d0" providerId="ADAL" clId="{30C8E33C-321C-418E-8B3B-128591160133}" dt="2024-04-10T14:27:28.775" v="1690" actId="207"/>
          <ac:spMkLst>
            <pc:docMk/>
            <pc:sldMk cId="2644412233" sldId="3058"/>
            <ac:spMk id="9" creationId="{B47B0835-9ACD-3C2A-9EAC-E6EDE13AD37D}"/>
          </ac:spMkLst>
        </pc:spChg>
        <pc:spChg chg="add mod">
          <ac:chgData name="Otavio Augusto Sabia Gava" userId="68ac195b-011b-467c-86d4-321df89323d0" providerId="ADAL" clId="{30C8E33C-321C-418E-8B3B-128591160133}" dt="2024-04-09T21:05:00.423" v="413" actId="1076"/>
          <ac:spMkLst>
            <pc:docMk/>
            <pc:sldMk cId="2644412233" sldId="3058"/>
            <ac:spMk id="10" creationId="{67DC4BFE-2682-FC8C-9F30-347B42A6AED9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0" creationId="{DD1283D8-7F28-911E-017C-A14642C69E2D}"/>
          </ac:spMkLst>
        </pc:spChg>
        <pc:spChg chg="add mod">
          <ac:chgData name="Otavio Augusto Sabia Gava" userId="68ac195b-011b-467c-86d4-321df89323d0" providerId="ADAL" clId="{30C8E33C-321C-418E-8B3B-128591160133}" dt="2024-04-15T20:46:59.970" v="1901" actId="2710"/>
          <ac:spMkLst>
            <pc:docMk/>
            <pc:sldMk cId="2644412233" sldId="3058"/>
            <ac:spMk id="11" creationId="{1167C791-68A1-3070-AC98-D06D278C6A1D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1" creationId="{B7C51F77-59DF-0A6C-8C69-FEE6BD36D94A}"/>
          </ac:spMkLst>
        </pc:spChg>
        <pc:spChg chg="add mod">
          <ac:chgData name="Otavio Augusto Sabia Gava" userId="68ac195b-011b-467c-86d4-321df89323d0" providerId="ADAL" clId="{30C8E33C-321C-418E-8B3B-128591160133}" dt="2024-04-09T21:00:44.496" v="281" actId="1035"/>
          <ac:spMkLst>
            <pc:docMk/>
            <pc:sldMk cId="2644412233" sldId="3058"/>
            <ac:spMk id="12" creationId="{85B41AEB-20D3-819A-091E-F906A543E73A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3" creationId="{47723EC5-9861-6D6A-E4A6-B1B4FB07C802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4" creationId="{90492028-DDFD-884A-AA17-78D2BFBA625C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5" creationId="{A3C40D68-8F61-7D7F-26C4-4164645D325C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6" creationId="{B224412A-3AAE-06BA-67F9-7CE70B9E859F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17" creationId="{5916FEF2-345F-7CBB-BA7C-82E6E5B52361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23" creationId="{B5CCA419-F16A-3F41-3BAE-1A8535401D9E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28" creationId="{FE900F3A-61B6-E16E-E590-6837F81A7796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29" creationId="{A86A1281-2BE1-6B6F-1EB4-D751F16ECA53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30" creationId="{39F4FACF-E2A7-406F-74CA-2A7BE0CDD9DD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32" creationId="{7C9D862D-0D11-0802-57EE-F254475B6ECD}"/>
          </ac:spMkLst>
        </pc:spChg>
        <pc:spChg chg="del">
          <ac:chgData name="Otavio Augusto Sabia Gava" userId="68ac195b-011b-467c-86d4-321df89323d0" providerId="ADAL" clId="{30C8E33C-321C-418E-8B3B-128591160133}" dt="2024-04-09T20:44:02.640" v="92" actId="478"/>
          <ac:spMkLst>
            <pc:docMk/>
            <pc:sldMk cId="2644412233" sldId="3058"/>
            <ac:spMk id="33" creationId="{90F8B515-4EFC-74B3-4FB9-A74D162EA0D7}"/>
          </ac:spMkLst>
        </pc:spChg>
        <pc:picChg chg="add del mod">
          <ac:chgData name="Otavio Augusto Sabia Gava" userId="68ac195b-011b-467c-86d4-321df89323d0" providerId="ADAL" clId="{30C8E33C-321C-418E-8B3B-128591160133}" dt="2024-04-09T21:00:53.005" v="293" actId="478"/>
          <ac:picMkLst>
            <pc:docMk/>
            <pc:sldMk cId="2644412233" sldId="3058"/>
            <ac:picMk id="13" creationId="{7A69D060-87D8-C80A-6F59-51ADAA9CB257}"/>
          </ac:picMkLst>
        </pc:picChg>
        <pc:picChg chg="add del mod">
          <ac:chgData name="Otavio Augusto Sabia Gava" userId="68ac195b-011b-467c-86d4-321df89323d0" providerId="ADAL" clId="{30C8E33C-321C-418E-8B3B-128591160133}" dt="2024-04-09T21:01:09.358" v="299" actId="478"/>
          <ac:picMkLst>
            <pc:docMk/>
            <pc:sldMk cId="2644412233" sldId="3058"/>
            <ac:picMk id="14" creationId="{27372126-2873-D081-D332-5F953FB71125}"/>
          </ac:picMkLst>
        </pc:picChg>
        <pc:picChg chg="add del mod">
          <ac:chgData name="Otavio Augusto Sabia Gava" userId="68ac195b-011b-467c-86d4-321df89323d0" providerId="ADAL" clId="{30C8E33C-321C-418E-8B3B-128591160133}" dt="2024-04-09T21:01:10.081" v="300" actId="478"/>
          <ac:picMkLst>
            <pc:docMk/>
            <pc:sldMk cId="2644412233" sldId="3058"/>
            <ac:picMk id="15" creationId="{70CED910-FED2-FF9B-6FE3-24422AC171E9}"/>
          </ac:picMkLst>
        </pc:picChg>
        <pc:picChg chg="add mod">
          <ac:chgData name="Otavio Augusto Sabia Gava" userId="68ac195b-011b-467c-86d4-321df89323d0" providerId="ADAL" clId="{30C8E33C-321C-418E-8B3B-128591160133}" dt="2024-04-09T21:04:37.463" v="405" actId="1037"/>
          <ac:picMkLst>
            <pc:docMk/>
            <pc:sldMk cId="2644412233" sldId="3058"/>
            <ac:picMk id="16" creationId="{214B55CA-6FB5-5C70-E27A-08A01AE8C05C}"/>
          </ac:picMkLst>
        </pc:picChg>
        <pc:picChg chg="add mod">
          <ac:chgData name="Otavio Augusto Sabia Gava" userId="68ac195b-011b-467c-86d4-321df89323d0" providerId="ADAL" clId="{30C8E33C-321C-418E-8B3B-128591160133}" dt="2024-04-10T14:28:08.056" v="1692" actId="208"/>
          <ac:picMkLst>
            <pc:docMk/>
            <pc:sldMk cId="2644412233" sldId="3058"/>
            <ac:picMk id="17" creationId="{FC446B8E-73B4-2E9C-EA89-F398C4F3CE03}"/>
          </ac:picMkLst>
        </pc:picChg>
        <pc:picChg chg="add mod">
          <ac:chgData name="Otavio Augusto Sabia Gava" userId="68ac195b-011b-467c-86d4-321df89323d0" providerId="ADAL" clId="{30C8E33C-321C-418E-8B3B-128591160133}" dt="2024-04-09T21:04:22.337" v="392" actId="1038"/>
          <ac:picMkLst>
            <pc:docMk/>
            <pc:sldMk cId="2644412233" sldId="3058"/>
            <ac:picMk id="19" creationId="{27DE54F9-DC2C-8B3B-3BC4-2FFE740C0FA9}"/>
          </ac:picMkLst>
        </pc:picChg>
        <pc:picChg chg="add mod">
          <ac:chgData name="Otavio Augusto Sabia Gava" userId="68ac195b-011b-467c-86d4-321df89323d0" providerId="ADAL" clId="{30C8E33C-321C-418E-8B3B-128591160133}" dt="2024-04-10T14:28:14.436" v="1695" actId="207"/>
          <ac:picMkLst>
            <pc:docMk/>
            <pc:sldMk cId="2644412233" sldId="3058"/>
            <ac:picMk id="20" creationId="{C7C92C66-0C8B-F87C-451E-1D747E2E9323}"/>
          </ac:picMkLst>
        </pc:picChg>
        <pc:picChg chg="add mod">
          <ac:chgData name="Otavio Augusto Sabia Gava" userId="68ac195b-011b-467c-86d4-321df89323d0" providerId="ADAL" clId="{30C8E33C-321C-418E-8B3B-128591160133}" dt="2024-04-09T21:04:21.536" v="391" actId="1038"/>
          <ac:picMkLst>
            <pc:docMk/>
            <pc:sldMk cId="2644412233" sldId="3058"/>
            <ac:picMk id="21" creationId="{61D60113-6162-5D11-BAF0-3879CA039024}"/>
          </ac:picMkLst>
        </pc:picChg>
        <pc:picChg chg="add mod">
          <ac:chgData name="Otavio Augusto Sabia Gava" userId="68ac195b-011b-467c-86d4-321df89323d0" providerId="ADAL" clId="{30C8E33C-321C-418E-8B3B-128591160133}" dt="2024-04-09T21:03:56.228" v="386" actId="1038"/>
          <ac:picMkLst>
            <pc:docMk/>
            <pc:sldMk cId="2644412233" sldId="3058"/>
            <ac:picMk id="22" creationId="{B4D26CED-1777-B6C9-522D-EED857FBAB4B}"/>
          </ac:picMkLst>
        </pc:pic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7" creationId="{CAE04E47-632E-CE71-5B74-9258DD02754E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8" creationId="{BFA7A9F0-6BBC-CEA4-9574-F5D46186BA85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9" creationId="{2E1B6CE4-AD9C-A07E-F52F-6E002BCA171C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18" creationId="{7ECD4A57-8083-3517-A373-4F0FE76AFF71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19" creationId="{D0B1FDCA-C64D-C621-F3DD-543E9F6C4598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0" creationId="{7C0412F2-DDBA-D039-C8B6-26AD7137EC21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1" creationId="{0ADBCC4C-032A-0D3F-87CC-341594BDCDC6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2" creationId="{ACECA322-E114-D55B-94DC-5F287CF03A18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4" creationId="{FDAF9DA7-8EA9-8F47-80B2-63CB0F1DD2BD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5" creationId="{7FACB4ED-32B7-6BF0-E08E-57DF423FA9B2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6" creationId="{FDD1FBAF-CB2A-5A28-DC92-23FDAF3F2DA4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27" creationId="{7F21762A-0C59-64E2-3EAA-937FA5A72D45}"/>
          </ac:cxnSpMkLst>
        </pc:cxnChg>
        <pc:cxnChg chg="del">
          <ac:chgData name="Otavio Augusto Sabia Gava" userId="68ac195b-011b-467c-86d4-321df89323d0" providerId="ADAL" clId="{30C8E33C-321C-418E-8B3B-128591160133}" dt="2024-04-09T20:44:02.640" v="92" actId="478"/>
          <ac:cxnSpMkLst>
            <pc:docMk/>
            <pc:sldMk cId="2644412233" sldId="3058"/>
            <ac:cxnSpMk id="31" creationId="{AEE31EC8-2B48-4EE6-EC2A-DD3FD466407A}"/>
          </ac:cxnSpMkLst>
        </pc:cxnChg>
      </pc:sldChg>
      <pc:sldChg chg="addSp delSp modSp add mod">
        <pc:chgData name="Otavio Augusto Sabia Gava" userId="68ac195b-011b-467c-86d4-321df89323d0" providerId="ADAL" clId="{30C8E33C-321C-418E-8B3B-128591160133}" dt="2024-04-10T14:35:45.481" v="1771" actId="20577"/>
        <pc:sldMkLst>
          <pc:docMk/>
          <pc:sldMk cId="1025852481" sldId="3059"/>
        </pc:sldMkLst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2" creationId="{D0CD0A2C-126B-FC32-192C-A129B20EC256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3" creationId="{4BFC25A8-F8D3-6FCA-5802-7453CCDC6F37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4" creationId="{6038641D-067B-412B-E41D-19466CD7A85D}"/>
          </ac:spMkLst>
        </pc:spChg>
        <pc:spChg chg="mod">
          <ac:chgData name="Otavio Augusto Sabia Gava" userId="68ac195b-011b-467c-86d4-321df89323d0" providerId="ADAL" clId="{30C8E33C-321C-418E-8B3B-128591160133}" dt="2024-04-10T14:35:45.481" v="1771" actId="20577"/>
          <ac:spMkLst>
            <pc:docMk/>
            <pc:sldMk cId="1025852481" sldId="3059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30C8E33C-321C-418E-8B3B-128591160133}" dt="2024-04-09T21:05:57.756" v="426" actId="113"/>
          <ac:spMkLst>
            <pc:docMk/>
            <pc:sldMk cId="1025852481" sldId="3059"/>
            <ac:spMk id="6" creationId="{C2C3C771-D008-4C33-A760-03865DFCD366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7" creationId="{95E57CF7-F645-0FA2-20CA-002A35C46215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8" creationId="{D68CCC62-9F89-278D-E11D-0A05BE8F879D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9" creationId="{B47B0835-9ACD-3C2A-9EAC-E6EDE13AD37D}"/>
          </ac:spMkLst>
        </pc:spChg>
        <pc:spChg chg="del">
          <ac:chgData name="Otavio Augusto Sabia Gava" userId="68ac195b-011b-467c-86d4-321df89323d0" providerId="ADAL" clId="{30C8E33C-321C-418E-8B3B-128591160133}" dt="2024-04-09T21:06:06.071" v="428" actId="478"/>
          <ac:spMkLst>
            <pc:docMk/>
            <pc:sldMk cId="1025852481" sldId="3059"/>
            <ac:spMk id="10" creationId="{67DC4BFE-2682-FC8C-9F30-347B42A6AED9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11" creationId="{1167C791-68A1-3070-AC98-D06D278C6A1D}"/>
          </ac:spMkLst>
        </pc:spChg>
        <pc:spChg chg="del">
          <ac:chgData name="Otavio Augusto Sabia Gava" userId="68ac195b-011b-467c-86d4-321df89323d0" providerId="ADAL" clId="{30C8E33C-321C-418E-8B3B-128591160133}" dt="2024-04-09T21:06:04.169" v="427" actId="478"/>
          <ac:spMkLst>
            <pc:docMk/>
            <pc:sldMk cId="1025852481" sldId="3059"/>
            <ac:spMk id="12" creationId="{85B41AEB-20D3-819A-091E-F906A543E73A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13" creationId="{CABBFD76-55FA-ECD3-D3B5-0A4B3C773CEE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14" creationId="{08F50EE2-A2FD-0EA8-8EB5-7792F7531227}"/>
          </ac:spMkLst>
        </pc:spChg>
        <pc:spChg chg="mod">
          <ac:chgData name="Otavio Augusto Sabia Gava" userId="68ac195b-011b-467c-86d4-321df89323d0" providerId="ADAL" clId="{30C8E33C-321C-418E-8B3B-128591160133}" dt="2024-04-09T21:08:01.391" v="433"/>
          <ac:spMkLst>
            <pc:docMk/>
            <pc:sldMk cId="1025852481" sldId="3059"/>
            <ac:spMk id="18" creationId="{26279E08-2892-46B4-F40B-5F3617ACAB2E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4" creationId="{229004CE-06A0-A254-D9EF-B882090B9874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5" creationId="{5E96C8EA-E802-E53D-467C-52A26C56ADC9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6" creationId="{235E4472-7B77-C041-F248-D0D9C2DDBBBD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7" creationId="{BD584CB5-878B-164A-CCCC-1DBB2EF663F7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8" creationId="{5F80E777-FE3A-F69B-A3B1-8CBAA0770DAD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29" creationId="{67A14BED-519E-701C-510F-5B267E5254D3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0" creationId="{EF3614CD-8924-3850-4EFA-9A5B5CCAC112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1" creationId="{D4A021D5-40D9-0542-27B0-4A9DDEEEDC5A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2" creationId="{7AD9EA5D-6261-E4F7-7F17-F69C53C61B32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3" creationId="{D13F5B30-E020-F341-8414-97A5B4806D72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4" creationId="{62CD1FBF-7547-3EE4-8E24-34AE5D2FB47C}"/>
          </ac:spMkLst>
        </pc:spChg>
        <pc:spChg chg="add mod">
          <ac:chgData name="Otavio Augusto Sabia Gava" userId="68ac195b-011b-467c-86d4-321df89323d0" providerId="ADAL" clId="{30C8E33C-321C-418E-8B3B-128591160133}" dt="2024-04-09T21:08:06.176" v="448" actId="1035"/>
          <ac:spMkLst>
            <pc:docMk/>
            <pc:sldMk cId="1025852481" sldId="3059"/>
            <ac:spMk id="35" creationId="{063E95FC-8869-FB6C-7BCA-681DC3CE240D}"/>
          </ac:spMkLst>
        </pc:spChg>
        <pc:grpChg chg="add mod">
          <ac:chgData name="Otavio Augusto Sabia Gava" userId="68ac195b-011b-467c-86d4-321df89323d0" providerId="ADAL" clId="{30C8E33C-321C-418E-8B3B-128591160133}" dt="2024-04-09T21:08:06.176" v="448" actId="1035"/>
          <ac:grpSpMkLst>
            <pc:docMk/>
            <pc:sldMk cId="1025852481" sldId="3059"/>
            <ac:grpSpMk id="15" creationId="{C3D5F0DC-F6DD-D35E-F9CA-CC55F67DD3FB}"/>
          </ac:grpSpMkLst>
        </pc:grp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16" creationId="{214B55CA-6FB5-5C70-E27A-08A01AE8C05C}"/>
          </ac:picMkLst>
        </pc:pic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17" creationId="{FC446B8E-73B4-2E9C-EA89-F398C4F3CE03}"/>
          </ac:picMkLst>
        </pc:pic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19" creationId="{27DE54F9-DC2C-8B3B-3BC4-2FFE740C0FA9}"/>
          </ac:picMkLst>
        </pc:pic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20" creationId="{C7C92C66-0C8B-F87C-451E-1D747E2E9323}"/>
          </ac:picMkLst>
        </pc:pic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21" creationId="{61D60113-6162-5D11-BAF0-3879CA039024}"/>
          </ac:picMkLst>
        </pc:picChg>
        <pc:picChg chg="del">
          <ac:chgData name="Otavio Augusto Sabia Gava" userId="68ac195b-011b-467c-86d4-321df89323d0" providerId="ADAL" clId="{30C8E33C-321C-418E-8B3B-128591160133}" dt="2024-04-09T21:06:04.169" v="427" actId="478"/>
          <ac:picMkLst>
            <pc:docMk/>
            <pc:sldMk cId="1025852481" sldId="3059"/>
            <ac:picMk id="22" creationId="{B4D26CED-1777-B6C9-522D-EED857FBAB4B}"/>
          </ac:picMkLst>
        </pc:picChg>
        <pc:picChg chg="mod">
          <ac:chgData name="Otavio Augusto Sabia Gava" userId="68ac195b-011b-467c-86d4-321df89323d0" providerId="ADAL" clId="{30C8E33C-321C-418E-8B3B-128591160133}" dt="2024-04-09T21:08:01.391" v="433"/>
          <ac:picMkLst>
            <pc:docMk/>
            <pc:sldMk cId="1025852481" sldId="3059"/>
            <ac:picMk id="23" creationId="{9D29DB1C-C47B-BD40-5A65-75D8201E962A}"/>
          </ac:picMkLst>
        </pc:picChg>
      </pc:sldChg>
      <pc:sldChg chg="addSp delSp modSp add del mod">
        <pc:chgData name="Otavio Augusto Sabia Gava" userId="68ac195b-011b-467c-86d4-321df89323d0" providerId="ADAL" clId="{30C8E33C-321C-418E-8B3B-128591160133}" dt="2024-04-09T21:25:41.535" v="1055" actId="47"/>
        <pc:sldMkLst>
          <pc:docMk/>
          <pc:sldMk cId="3141911257" sldId="3060"/>
        </pc:sldMkLst>
        <pc:spChg chg="mod">
          <ac:chgData name="Otavio Augusto Sabia Gava" userId="68ac195b-011b-467c-86d4-321df89323d0" providerId="ADAL" clId="{30C8E33C-321C-418E-8B3B-128591160133}" dt="2024-04-09T21:08:32.159" v="450"/>
          <ac:spMkLst>
            <pc:docMk/>
            <pc:sldMk cId="3141911257" sldId="3060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30C8E33C-321C-418E-8B3B-128591160133}" dt="2024-04-09T21:08:37.734" v="451"/>
          <ac:spMkLst>
            <pc:docMk/>
            <pc:sldMk cId="3141911257" sldId="3060"/>
            <ac:spMk id="6" creationId="{C2C3C771-D008-4C33-A760-03865DFCD366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13" creationId="{CABBFD76-55FA-ECD3-D3B5-0A4B3C773CEE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14" creationId="{08F50EE2-A2FD-0EA8-8EB5-7792F7531227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4" creationId="{229004CE-06A0-A254-D9EF-B882090B9874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5" creationId="{5E96C8EA-E802-E53D-467C-52A26C56ADC9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6" creationId="{235E4472-7B77-C041-F248-D0D9C2DDBBBD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7" creationId="{BD584CB5-878B-164A-CCCC-1DBB2EF663F7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8" creationId="{5F80E777-FE3A-F69B-A3B1-8CBAA0770DAD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29" creationId="{67A14BED-519E-701C-510F-5B267E5254D3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0" creationId="{EF3614CD-8924-3850-4EFA-9A5B5CCAC112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1" creationId="{D4A021D5-40D9-0542-27B0-4A9DDEEEDC5A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2" creationId="{7AD9EA5D-6261-E4F7-7F17-F69C53C61B32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3" creationId="{D13F5B30-E020-F341-8414-97A5B4806D72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4" creationId="{62CD1FBF-7547-3EE4-8E24-34AE5D2FB47C}"/>
          </ac:spMkLst>
        </pc:spChg>
        <pc:spChg chg="del">
          <ac:chgData name="Otavio Augusto Sabia Gava" userId="68ac195b-011b-467c-86d4-321df89323d0" providerId="ADAL" clId="{30C8E33C-321C-418E-8B3B-128591160133}" dt="2024-04-09T21:09:00.774" v="452" actId="478"/>
          <ac:spMkLst>
            <pc:docMk/>
            <pc:sldMk cId="3141911257" sldId="3060"/>
            <ac:spMk id="35" creationId="{063E95FC-8869-FB6C-7BCA-681DC3CE240D}"/>
          </ac:spMkLst>
        </pc:spChg>
        <pc:grpChg chg="del">
          <ac:chgData name="Otavio Augusto Sabia Gava" userId="68ac195b-011b-467c-86d4-321df89323d0" providerId="ADAL" clId="{30C8E33C-321C-418E-8B3B-128591160133}" dt="2024-04-09T21:09:00.774" v="452" actId="478"/>
          <ac:grpSpMkLst>
            <pc:docMk/>
            <pc:sldMk cId="3141911257" sldId="3060"/>
            <ac:grpSpMk id="15" creationId="{C3D5F0DC-F6DD-D35E-F9CA-CC55F67DD3FB}"/>
          </ac:grpSpMkLst>
        </pc:grpChg>
        <pc:picChg chg="add mod">
          <ac:chgData name="Otavio Augusto Sabia Gava" userId="68ac195b-011b-467c-86d4-321df89323d0" providerId="ADAL" clId="{30C8E33C-321C-418E-8B3B-128591160133}" dt="2024-04-09T21:09:01.742" v="453"/>
          <ac:picMkLst>
            <pc:docMk/>
            <pc:sldMk cId="3141911257" sldId="3060"/>
            <ac:picMk id="2" creationId="{27B56975-F1FD-68B7-E970-53AED3A5CE84}"/>
          </ac:picMkLst>
        </pc:picChg>
      </pc:sldChg>
      <pc:sldChg chg="addSp delSp modSp add del mod">
        <pc:chgData name="Otavio Augusto Sabia Gava" userId="68ac195b-011b-467c-86d4-321df89323d0" providerId="ADAL" clId="{30C8E33C-321C-418E-8B3B-128591160133}" dt="2024-04-09T21:15:12.610" v="536" actId="47"/>
        <pc:sldMkLst>
          <pc:docMk/>
          <pc:sldMk cId="4143819962" sldId="3061"/>
        </pc:sldMkLst>
        <pc:spChg chg="add mod">
          <ac:chgData name="Otavio Augusto Sabia Gava" userId="68ac195b-011b-467c-86d4-321df89323d0" providerId="ADAL" clId="{30C8E33C-321C-418E-8B3B-128591160133}" dt="2024-04-09T21:12:41.180" v="505"/>
          <ac:spMkLst>
            <pc:docMk/>
            <pc:sldMk cId="4143819962" sldId="3061"/>
            <ac:spMk id="2" creationId="{493A8E97-15A2-A232-0B1E-1FBDCE3A5190}"/>
          </ac:spMkLst>
        </pc:spChg>
        <pc:spChg chg="mod">
          <ac:chgData name="Otavio Augusto Sabia Gava" userId="68ac195b-011b-467c-86d4-321df89323d0" providerId="ADAL" clId="{30C8E33C-321C-418E-8B3B-128591160133}" dt="2024-04-09T21:12:33.041" v="504"/>
          <ac:spMkLst>
            <pc:docMk/>
            <pc:sldMk cId="4143819962" sldId="3061"/>
            <ac:spMk id="3" creationId="{A1BB8DF8-E989-C0D1-103E-E543DBDB91F9}"/>
          </ac:spMkLst>
        </pc:spChg>
        <pc:spChg chg="del">
          <ac:chgData name="Otavio Augusto Sabia Gava" userId="68ac195b-011b-467c-86d4-321df89323d0" providerId="ADAL" clId="{30C8E33C-321C-418E-8B3B-128591160133}" dt="2024-04-09T21:10:50.553" v="455" actId="478"/>
          <ac:spMkLst>
            <pc:docMk/>
            <pc:sldMk cId="4143819962" sldId="3061"/>
            <ac:spMk id="8" creationId="{7F77ABBD-EC19-FE85-C357-3C10349FD4D0}"/>
          </ac:spMkLst>
        </pc:spChg>
        <pc:spChg chg="mod">
          <ac:chgData name="Otavio Augusto Sabia Gava" userId="68ac195b-011b-467c-86d4-321df89323d0" providerId="ADAL" clId="{30C8E33C-321C-418E-8B3B-128591160133}" dt="2024-04-09T21:11:59.612" v="478" actId="1076"/>
          <ac:spMkLst>
            <pc:docMk/>
            <pc:sldMk cId="4143819962" sldId="3061"/>
            <ac:spMk id="9" creationId="{57CB1CF4-C92C-2C69-500A-7C73F3612AF8}"/>
          </ac:spMkLst>
        </pc:spChg>
        <pc:spChg chg="mod">
          <ac:chgData name="Otavio Augusto Sabia Gava" userId="68ac195b-011b-467c-86d4-321df89323d0" providerId="ADAL" clId="{30C8E33C-321C-418E-8B3B-128591160133}" dt="2024-04-09T21:12:15.110" v="488" actId="1076"/>
          <ac:spMkLst>
            <pc:docMk/>
            <pc:sldMk cId="4143819962" sldId="3061"/>
            <ac:spMk id="10" creationId="{2801F5AF-59A8-F40F-59B8-9144D343F0C6}"/>
          </ac:spMkLst>
        </pc:spChg>
        <pc:spChg chg="del">
          <ac:chgData name="Otavio Augusto Sabia Gava" userId="68ac195b-011b-467c-86d4-321df89323d0" providerId="ADAL" clId="{30C8E33C-321C-418E-8B3B-128591160133}" dt="2024-04-09T21:11:01.216" v="460" actId="478"/>
          <ac:spMkLst>
            <pc:docMk/>
            <pc:sldMk cId="4143819962" sldId="3061"/>
            <ac:spMk id="11" creationId="{52ADD557-C80B-0206-BB4C-387585C0A70F}"/>
          </ac:spMkLst>
        </pc:spChg>
        <pc:spChg chg="del">
          <ac:chgData name="Otavio Augusto Sabia Gava" userId="68ac195b-011b-467c-86d4-321df89323d0" providerId="ADAL" clId="{30C8E33C-321C-418E-8B3B-128591160133}" dt="2024-04-09T21:10:50.553" v="455" actId="478"/>
          <ac:spMkLst>
            <pc:docMk/>
            <pc:sldMk cId="4143819962" sldId="3061"/>
            <ac:spMk id="13" creationId="{96B0ABCA-C66B-2264-241C-B4634D5DEB04}"/>
          </ac:spMkLst>
        </pc:spChg>
        <pc:spChg chg="del">
          <ac:chgData name="Otavio Augusto Sabia Gava" userId="68ac195b-011b-467c-86d4-321df89323d0" providerId="ADAL" clId="{30C8E33C-321C-418E-8B3B-128591160133}" dt="2024-04-09T21:10:55.776" v="457" actId="478"/>
          <ac:spMkLst>
            <pc:docMk/>
            <pc:sldMk cId="4143819962" sldId="3061"/>
            <ac:spMk id="15" creationId="{11A338B3-0F2E-6DD5-D4E3-2018FAD29455}"/>
          </ac:spMkLst>
        </pc:spChg>
        <pc:spChg chg="mod">
          <ac:chgData name="Otavio Augusto Sabia Gava" userId="68ac195b-011b-467c-86d4-321df89323d0" providerId="ADAL" clId="{30C8E33C-321C-418E-8B3B-128591160133}" dt="2024-04-09T21:12:29.032" v="503" actId="20577"/>
          <ac:spMkLst>
            <pc:docMk/>
            <pc:sldMk cId="4143819962" sldId="3061"/>
            <ac:spMk id="16" creationId="{4C2CA875-F103-7CD5-8622-6616943E9A73}"/>
          </ac:spMkLst>
        </pc:spChg>
        <pc:spChg chg="del">
          <ac:chgData name="Otavio Augusto Sabia Gava" userId="68ac195b-011b-467c-86d4-321df89323d0" providerId="ADAL" clId="{30C8E33C-321C-418E-8B3B-128591160133}" dt="2024-04-09T21:11:00.389" v="459" actId="478"/>
          <ac:spMkLst>
            <pc:docMk/>
            <pc:sldMk cId="4143819962" sldId="3061"/>
            <ac:spMk id="27" creationId="{BD80F9DC-DE48-DE27-2318-9D8F099FB375}"/>
          </ac:spMkLst>
        </pc:spChg>
        <pc:spChg chg="del">
          <ac:chgData name="Otavio Augusto Sabia Gava" userId="68ac195b-011b-467c-86d4-321df89323d0" providerId="ADAL" clId="{30C8E33C-321C-418E-8B3B-128591160133}" dt="2024-04-09T21:10:55.776" v="457" actId="478"/>
          <ac:spMkLst>
            <pc:docMk/>
            <pc:sldMk cId="4143819962" sldId="3061"/>
            <ac:spMk id="28" creationId="{34D15F86-1917-FF49-8985-2CAD9E6BD507}"/>
          </ac:spMkLst>
        </pc:spChg>
        <pc:spChg chg="del">
          <ac:chgData name="Otavio Augusto Sabia Gava" userId="68ac195b-011b-467c-86d4-321df89323d0" providerId="ADAL" clId="{30C8E33C-321C-418E-8B3B-128591160133}" dt="2024-04-09T21:10:55.776" v="457" actId="478"/>
          <ac:spMkLst>
            <pc:docMk/>
            <pc:sldMk cId="4143819962" sldId="3061"/>
            <ac:spMk id="32" creationId="{65A6047B-88D8-7864-B672-7263F58CEBE6}"/>
          </ac:spMkLst>
        </pc:spChg>
        <pc:spChg chg="del">
          <ac:chgData name="Otavio Augusto Sabia Gava" userId="68ac195b-011b-467c-86d4-321df89323d0" providerId="ADAL" clId="{30C8E33C-321C-418E-8B3B-128591160133}" dt="2024-04-09T21:10:52.196" v="456" actId="478"/>
          <ac:spMkLst>
            <pc:docMk/>
            <pc:sldMk cId="4143819962" sldId="3061"/>
            <ac:spMk id="33" creationId="{90FA534F-3A7F-DA42-E3AA-758DC9467096}"/>
          </ac:spMkLst>
        </pc:spChg>
        <pc:spChg chg="mod">
          <ac:chgData name="Otavio Augusto Sabia Gava" userId="68ac195b-011b-467c-86d4-321df89323d0" providerId="ADAL" clId="{30C8E33C-321C-418E-8B3B-128591160133}" dt="2024-04-09T21:12:10.178" v="485" actId="1076"/>
          <ac:spMkLst>
            <pc:docMk/>
            <pc:sldMk cId="4143819962" sldId="3061"/>
            <ac:spMk id="35" creationId="{A81905B2-CC7D-2A3F-4EC3-481B43AA00B6}"/>
          </ac:spMkLst>
        </pc:spChg>
        <pc:spChg chg="mod">
          <ac:chgData name="Otavio Augusto Sabia Gava" userId="68ac195b-011b-467c-86d4-321df89323d0" providerId="ADAL" clId="{30C8E33C-321C-418E-8B3B-128591160133}" dt="2024-04-09T21:12:24.882" v="499" actId="20577"/>
          <ac:spMkLst>
            <pc:docMk/>
            <pc:sldMk cId="4143819962" sldId="3061"/>
            <ac:spMk id="37" creationId="{7CBD9413-4E40-FD79-1017-1BC5CD38DE60}"/>
          </ac:spMkLst>
        </pc:spChg>
        <pc:spChg chg="mod">
          <ac:chgData name="Otavio Augusto Sabia Gava" userId="68ac195b-011b-467c-86d4-321df89323d0" providerId="ADAL" clId="{30C8E33C-321C-418E-8B3B-128591160133}" dt="2024-04-09T21:12:21.377" v="497" actId="1035"/>
          <ac:spMkLst>
            <pc:docMk/>
            <pc:sldMk cId="4143819962" sldId="3061"/>
            <ac:spMk id="38" creationId="{F5A25D23-F6C6-C9F5-47F9-28130176520C}"/>
          </ac:spMkLst>
        </pc:spChg>
        <pc:spChg chg="mod">
          <ac:chgData name="Otavio Augusto Sabia Gava" userId="68ac195b-011b-467c-86d4-321df89323d0" providerId="ADAL" clId="{30C8E33C-321C-418E-8B3B-128591160133}" dt="2024-04-09T21:11:48.676" v="473" actId="14100"/>
          <ac:spMkLst>
            <pc:docMk/>
            <pc:sldMk cId="4143819962" sldId="3061"/>
            <ac:spMk id="45" creationId="{DC268514-2410-1D62-532C-031408838129}"/>
          </ac:spMkLst>
        </pc:spChg>
        <pc:spChg chg="mod">
          <ac:chgData name="Otavio Augusto Sabia Gava" userId="68ac195b-011b-467c-86d4-321df89323d0" providerId="ADAL" clId="{30C8E33C-321C-418E-8B3B-128591160133}" dt="2024-04-09T21:12:27.157" v="501" actId="20577"/>
          <ac:spMkLst>
            <pc:docMk/>
            <pc:sldMk cId="4143819962" sldId="3061"/>
            <ac:spMk id="46" creationId="{766C400E-0027-0F4E-AD55-4183DE4DB6B1}"/>
          </ac:spMkLst>
        </pc:spChg>
        <pc:picChg chg="del">
          <ac:chgData name="Otavio Augusto Sabia Gava" userId="68ac195b-011b-467c-86d4-321df89323d0" providerId="ADAL" clId="{30C8E33C-321C-418E-8B3B-128591160133}" dt="2024-04-09T21:10:50.553" v="455" actId="478"/>
          <ac:picMkLst>
            <pc:docMk/>
            <pc:sldMk cId="4143819962" sldId="3061"/>
            <ac:picMk id="14" creationId="{5E851F29-18E0-5597-EC31-727B41528D13}"/>
          </ac:picMkLst>
        </pc:picChg>
        <pc:picChg chg="del">
          <ac:chgData name="Otavio Augusto Sabia Gava" userId="68ac195b-011b-467c-86d4-321df89323d0" providerId="ADAL" clId="{30C8E33C-321C-418E-8B3B-128591160133}" dt="2024-04-09T21:10:55.776" v="457" actId="478"/>
          <ac:picMkLst>
            <pc:docMk/>
            <pc:sldMk cId="4143819962" sldId="3061"/>
            <ac:picMk id="17" creationId="{4FFFC6A4-A407-4A26-4ACB-76103149D375}"/>
          </ac:picMkLst>
        </pc:picChg>
        <pc:picChg chg="del">
          <ac:chgData name="Otavio Augusto Sabia Gava" userId="68ac195b-011b-467c-86d4-321df89323d0" providerId="ADAL" clId="{30C8E33C-321C-418E-8B3B-128591160133}" dt="2024-04-09T21:12:46.779" v="506" actId="478"/>
          <ac:picMkLst>
            <pc:docMk/>
            <pc:sldMk cId="4143819962" sldId="3061"/>
            <ac:picMk id="52" creationId="{D5F12E28-134D-7B9F-8EDB-B77F03377482}"/>
          </ac:picMkLst>
        </pc:picChg>
        <pc:cxnChg chg="del">
          <ac:chgData name="Otavio Augusto Sabia Gava" userId="68ac195b-011b-467c-86d4-321df89323d0" providerId="ADAL" clId="{30C8E33C-321C-418E-8B3B-128591160133}" dt="2024-04-09T21:10:50.553" v="455" actId="478"/>
          <ac:cxnSpMkLst>
            <pc:docMk/>
            <pc:sldMk cId="4143819962" sldId="3061"/>
            <ac:cxnSpMk id="12" creationId="{EBDC1D77-F697-4251-5D60-F518B9935E63}"/>
          </ac:cxnSpMkLst>
        </pc:cxnChg>
        <pc:cxnChg chg="del">
          <ac:chgData name="Otavio Augusto Sabia Gava" userId="68ac195b-011b-467c-86d4-321df89323d0" providerId="ADAL" clId="{30C8E33C-321C-418E-8B3B-128591160133}" dt="2024-04-09T21:10:57.823" v="458" actId="478"/>
          <ac:cxnSpMkLst>
            <pc:docMk/>
            <pc:sldMk cId="4143819962" sldId="3061"/>
            <ac:cxnSpMk id="21" creationId="{0E22AC88-0764-98F0-593F-DFDA6A041A0D}"/>
          </ac:cxnSpMkLst>
        </pc:cxnChg>
        <pc:cxnChg chg="del">
          <ac:chgData name="Otavio Augusto Sabia Gava" userId="68ac195b-011b-467c-86d4-321df89323d0" providerId="ADAL" clId="{30C8E33C-321C-418E-8B3B-128591160133}" dt="2024-04-09T21:10:50.553" v="455" actId="478"/>
          <ac:cxnSpMkLst>
            <pc:docMk/>
            <pc:sldMk cId="4143819962" sldId="3061"/>
            <ac:cxnSpMk id="34" creationId="{33D2FB48-0F35-6D43-1AD6-7CAAC7A6A766}"/>
          </ac:cxnSpMkLst>
        </pc:cxnChg>
        <pc:cxnChg chg="mod">
          <ac:chgData name="Otavio Augusto Sabia Gava" userId="68ac195b-011b-467c-86d4-321df89323d0" providerId="ADAL" clId="{30C8E33C-321C-418E-8B3B-128591160133}" dt="2024-04-09T21:13:03.014" v="509" actId="1076"/>
          <ac:cxnSpMkLst>
            <pc:docMk/>
            <pc:sldMk cId="4143819962" sldId="3061"/>
            <ac:cxnSpMk id="40" creationId="{834EA393-0978-07A5-0684-919FB75017D7}"/>
          </ac:cxnSpMkLst>
        </pc:cxnChg>
        <pc:cxnChg chg="mod">
          <ac:chgData name="Otavio Augusto Sabia Gava" userId="68ac195b-011b-467c-86d4-321df89323d0" providerId="ADAL" clId="{30C8E33C-321C-418E-8B3B-128591160133}" dt="2024-04-09T21:13:07.091" v="511" actId="14100"/>
          <ac:cxnSpMkLst>
            <pc:docMk/>
            <pc:sldMk cId="4143819962" sldId="3061"/>
            <ac:cxnSpMk id="41" creationId="{96BF56D9-3A61-29C7-14A8-FECD0F09D877}"/>
          </ac:cxnSpMkLst>
        </pc:cxnChg>
        <pc:cxnChg chg="del">
          <ac:chgData name="Otavio Augusto Sabia Gava" userId="68ac195b-011b-467c-86d4-321df89323d0" providerId="ADAL" clId="{30C8E33C-321C-418E-8B3B-128591160133}" dt="2024-04-09T21:10:55.776" v="457" actId="478"/>
          <ac:cxnSpMkLst>
            <pc:docMk/>
            <pc:sldMk cId="4143819962" sldId="3061"/>
            <ac:cxnSpMk id="44" creationId="{1901EF7B-AA3C-E763-B485-D9BDC1033725}"/>
          </ac:cxnSpMkLst>
        </pc:cxnChg>
      </pc:sldChg>
      <pc:sldChg chg="addSp delSp modSp add mod modShow">
        <pc:chgData name="Otavio Augusto Sabia Gava" userId="68ac195b-011b-467c-86d4-321df89323d0" providerId="ADAL" clId="{30C8E33C-321C-418E-8B3B-128591160133}" dt="2024-04-15T20:51:26.473" v="1945" actId="14100"/>
        <pc:sldMkLst>
          <pc:docMk/>
          <pc:sldMk cId="1261726688" sldId="3062"/>
        </pc:sldMkLst>
        <pc:spChg chg="add mod ord">
          <ac:chgData name="Otavio Augusto Sabia Gava" userId="68ac195b-011b-467c-86d4-321df89323d0" providerId="ADAL" clId="{30C8E33C-321C-418E-8B3B-128591160133}" dt="2024-04-10T12:22:11.417" v="1239" actId="14100"/>
          <ac:spMkLst>
            <pc:docMk/>
            <pc:sldMk cId="1261726688" sldId="3062"/>
            <ac:spMk id="2" creationId="{F631DF1C-8D59-1ABC-ADA3-B7B65D3E2494}"/>
          </ac:spMkLst>
        </pc:spChg>
        <pc:spChg chg="mod">
          <ac:chgData name="Otavio Augusto Sabia Gava" userId="68ac195b-011b-467c-86d4-321df89323d0" providerId="ADAL" clId="{30C8E33C-321C-418E-8B3B-128591160133}" dt="2024-04-09T21:14:40.903" v="527"/>
          <ac:spMkLst>
            <pc:docMk/>
            <pc:sldMk cId="1261726688" sldId="3062"/>
            <ac:spMk id="3" creationId="{A1BB8DF8-E989-C0D1-103E-E543DBDB91F9}"/>
          </ac:spMkLst>
        </pc:spChg>
        <pc:spChg chg="add mod">
          <ac:chgData name="Otavio Augusto Sabia Gava" userId="68ac195b-011b-467c-86d4-321df89323d0" providerId="ADAL" clId="{30C8E33C-321C-418E-8B3B-128591160133}" dt="2024-04-09T21:14:43.263" v="528"/>
          <ac:spMkLst>
            <pc:docMk/>
            <pc:sldMk cId="1261726688" sldId="3062"/>
            <ac:spMk id="4" creationId="{D609EEFB-3D4C-D7B1-1123-2BB41C5E7BB1}"/>
          </ac:spMkLst>
        </pc:spChg>
        <pc:spChg chg="add del">
          <ac:chgData name="Otavio Augusto Sabia Gava" userId="68ac195b-011b-467c-86d4-321df89323d0" providerId="ADAL" clId="{30C8E33C-321C-418E-8B3B-128591160133}" dt="2024-04-09T21:13:47.669" v="515" actId="478"/>
          <ac:spMkLst>
            <pc:docMk/>
            <pc:sldMk cId="1261726688" sldId="3062"/>
            <ac:spMk id="8" creationId="{7F77ABBD-EC19-FE85-C357-3C10349FD4D0}"/>
          </ac:spMkLst>
        </pc:spChg>
        <pc:spChg chg="mod">
          <ac:chgData name="Otavio Augusto Sabia Gava" userId="68ac195b-011b-467c-86d4-321df89323d0" providerId="ADAL" clId="{30C8E33C-321C-418E-8B3B-128591160133}" dt="2024-04-10T12:22:39.008" v="1248" actId="1076"/>
          <ac:spMkLst>
            <pc:docMk/>
            <pc:sldMk cId="1261726688" sldId="3062"/>
            <ac:spMk id="9" creationId="{57CB1CF4-C92C-2C69-500A-7C73F3612AF8}"/>
          </ac:spMkLst>
        </pc:spChg>
        <pc:spChg chg="mod">
          <ac:chgData name="Otavio Augusto Sabia Gava" userId="68ac195b-011b-467c-86d4-321df89323d0" providerId="ADAL" clId="{30C8E33C-321C-418E-8B3B-128591160133}" dt="2024-04-09T21:15:01.524" v="534" actId="1076"/>
          <ac:spMkLst>
            <pc:docMk/>
            <pc:sldMk cId="1261726688" sldId="3062"/>
            <ac:spMk id="10" creationId="{2801F5AF-59A8-F40F-59B8-9144D343F0C6}"/>
          </ac:spMkLst>
        </pc:spChg>
        <pc:spChg chg="add del">
          <ac:chgData name="Otavio Augusto Sabia Gava" userId="68ac195b-011b-467c-86d4-321df89323d0" providerId="ADAL" clId="{30C8E33C-321C-418E-8B3B-128591160133}" dt="2024-04-09T21:13:47.669" v="515" actId="478"/>
          <ac:spMkLst>
            <pc:docMk/>
            <pc:sldMk cId="1261726688" sldId="3062"/>
            <ac:spMk id="11" creationId="{52ADD557-C80B-0206-BB4C-387585C0A70F}"/>
          </ac:spMkLst>
        </pc:spChg>
        <pc:spChg chg="add del">
          <ac:chgData name="Otavio Augusto Sabia Gava" userId="68ac195b-011b-467c-86d4-321df89323d0" providerId="ADAL" clId="{30C8E33C-321C-418E-8B3B-128591160133}" dt="2024-04-09T21:13:47.669" v="515" actId="478"/>
          <ac:spMkLst>
            <pc:docMk/>
            <pc:sldMk cId="1261726688" sldId="3062"/>
            <ac:spMk id="13" creationId="{96B0ABCA-C66B-2264-241C-B4634D5DEB04}"/>
          </ac:spMkLst>
        </pc:spChg>
        <pc:spChg chg="add del">
          <ac:chgData name="Otavio Augusto Sabia Gava" userId="68ac195b-011b-467c-86d4-321df89323d0" providerId="ADAL" clId="{30C8E33C-321C-418E-8B3B-128591160133}" dt="2024-04-09T21:13:49.395" v="516" actId="478"/>
          <ac:spMkLst>
            <pc:docMk/>
            <pc:sldMk cId="1261726688" sldId="3062"/>
            <ac:spMk id="15" creationId="{11A338B3-0F2E-6DD5-D4E3-2018FAD29455}"/>
          </ac:spMkLst>
        </pc:spChg>
        <pc:spChg chg="mod">
          <ac:chgData name="Otavio Augusto Sabia Gava" userId="68ac195b-011b-467c-86d4-321df89323d0" providerId="ADAL" clId="{30C8E33C-321C-418E-8B3B-128591160133}" dt="2024-04-09T21:16:42.398" v="585" actId="20577"/>
          <ac:spMkLst>
            <pc:docMk/>
            <pc:sldMk cId="1261726688" sldId="3062"/>
            <ac:spMk id="16" creationId="{4C2CA875-F103-7CD5-8622-6616943E9A73}"/>
          </ac:spMkLst>
        </pc:spChg>
        <pc:spChg chg="del">
          <ac:chgData name="Otavio Augusto Sabia Gava" userId="68ac195b-011b-467c-86d4-321df89323d0" providerId="ADAL" clId="{30C8E33C-321C-418E-8B3B-128591160133}" dt="2024-04-09T21:16:40.847" v="582" actId="478"/>
          <ac:spMkLst>
            <pc:docMk/>
            <pc:sldMk cId="1261726688" sldId="3062"/>
            <ac:spMk id="20" creationId="{92E9374B-33ED-D4BC-F357-2F38807DADB9}"/>
          </ac:spMkLst>
        </pc:spChg>
        <pc:spChg chg="del">
          <ac:chgData name="Otavio Augusto Sabia Gava" userId="68ac195b-011b-467c-86d4-321df89323d0" providerId="ADAL" clId="{30C8E33C-321C-418E-8B3B-128591160133}" dt="2024-04-09T21:13:53.111" v="517" actId="478"/>
          <ac:spMkLst>
            <pc:docMk/>
            <pc:sldMk cId="1261726688" sldId="3062"/>
            <ac:spMk id="27" creationId="{BD80F9DC-DE48-DE27-2318-9D8F099FB375}"/>
          </ac:spMkLst>
        </pc:spChg>
        <pc:spChg chg="add del">
          <ac:chgData name="Otavio Augusto Sabia Gava" userId="68ac195b-011b-467c-86d4-321df89323d0" providerId="ADAL" clId="{30C8E33C-321C-418E-8B3B-128591160133}" dt="2024-04-09T21:13:49.395" v="516" actId="478"/>
          <ac:spMkLst>
            <pc:docMk/>
            <pc:sldMk cId="1261726688" sldId="3062"/>
            <ac:spMk id="28" creationId="{34D15F86-1917-FF49-8985-2CAD9E6BD507}"/>
          </ac:spMkLst>
        </pc:spChg>
        <pc:spChg chg="del mod">
          <ac:chgData name="Otavio Augusto Sabia Gava" userId="68ac195b-011b-467c-86d4-321df89323d0" providerId="ADAL" clId="{30C8E33C-321C-418E-8B3B-128591160133}" dt="2024-04-09T21:16:29.796" v="578" actId="478"/>
          <ac:spMkLst>
            <pc:docMk/>
            <pc:sldMk cId="1261726688" sldId="3062"/>
            <ac:spMk id="29" creationId="{E6EC749E-1132-A9AF-8057-80EEA1D31BBC}"/>
          </ac:spMkLst>
        </pc:spChg>
        <pc:spChg chg="mod">
          <ac:chgData name="Otavio Augusto Sabia Gava" userId="68ac195b-011b-467c-86d4-321df89323d0" providerId="ADAL" clId="{30C8E33C-321C-418E-8B3B-128591160133}" dt="2024-04-15T20:51:26.473" v="1945" actId="14100"/>
          <ac:spMkLst>
            <pc:docMk/>
            <pc:sldMk cId="1261726688" sldId="3062"/>
            <ac:spMk id="30" creationId="{E60EE261-51D0-1475-5AC2-84D4FC03D2BF}"/>
          </ac:spMkLst>
        </pc:spChg>
        <pc:spChg chg="mod">
          <ac:chgData name="Otavio Augusto Sabia Gava" userId="68ac195b-011b-467c-86d4-321df89323d0" providerId="ADAL" clId="{30C8E33C-321C-418E-8B3B-128591160133}" dt="2024-04-09T21:23:24.130" v="934" actId="20577"/>
          <ac:spMkLst>
            <pc:docMk/>
            <pc:sldMk cId="1261726688" sldId="3062"/>
            <ac:spMk id="31" creationId="{58176EE7-F911-2232-9401-BBEC27129393}"/>
          </ac:spMkLst>
        </pc:spChg>
        <pc:spChg chg="add del">
          <ac:chgData name="Otavio Augusto Sabia Gava" userId="68ac195b-011b-467c-86d4-321df89323d0" providerId="ADAL" clId="{30C8E33C-321C-418E-8B3B-128591160133}" dt="2024-04-09T21:13:49.395" v="516" actId="478"/>
          <ac:spMkLst>
            <pc:docMk/>
            <pc:sldMk cId="1261726688" sldId="3062"/>
            <ac:spMk id="32" creationId="{65A6047B-88D8-7864-B672-7263F58CEBE6}"/>
          </ac:spMkLst>
        </pc:spChg>
        <pc:spChg chg="add del">
          <ac:chgData name="Otavio Augusto Sabia Gava" userId="68ac195b-011b-467c-86d4-321df89323d0" providerId="ADAL" clId="{30C8E33C-321C-418E-8B3B-128591160133}" dt="2024-04-09T21:13:47.669" v="515" actId="478"/>
          <ac:spMkLst>
            <pc:docMk/>
            <pc:sldMk cId="1261726688" sldId="3062"/>
            <ac:spMk id="33" creationId="{90FA534F-3A7F-DA42-E3AA-758DC9467096}"/>
          </ac:spMkLst>
        </pc:spChg>
        <pc:spChg chg="mod">
          <ac:chgData name="Otavio Augusto Sabia Gava" userId="68ac195b-011b-467c-86d4-321df89323d0" providerId="ADAL" clId="{30C8E33C-321C-418E-8B3B-128591160133}" dt="2024-04-10T12:22:44.133" v="1250" actId="1076"/>
          <ac:spMkLst>
            <pc:docMk/>
            <pc:sldMk cId="1261726688" sldId="3062"/>
            <ac:spMk id="35" creationId="{A81905B2-CC7D-2A3F-4EC3-481B43AA00B6}"/>
          </ac:spMkLst>
        </pc:spChg>
        <pc:spChg chg="mod">
          <ac:chgData name="Otavio Augusto Sabia Gava" userId="68ac195b-011b-467c-86d4-321df89323d0" providerId="ADAL" clId="{30C8E33C-321C-418E-8B3B-128591160133}" dt="2024-04-09T21:16:21.298" v="569" actId="20577"/>
          <ac:spMkLst>
            <pc:docMk/>
            <pc:sldMk cId="1261726688" sldId="3062"/>
            <ac:spMk id="37" creationId="{7CBD9413-4E40-FD79-1017-1BC5CD38DE60}"/>
          </ac:spMkLst>
        </pc:spChg>
        <pc:spChg chg="mod">
          <ac:chgData name="Otavio Augusto Sabia Gava" userId="68ac195b-011b-467c-86d4-321df89323d0" providerId="ADAL" clId="{30C8E33C-321C-418E-8B3B-128591160133}" dt="2024-04-09T21:21:19.324" v="841" actId="20577"/>
          <ac:spMkLst>
            <pc:docMk/>
            <pc:sldMk cId="1261726688" sldId="3062"/>
            <ac:spMk id="38" creationId="{F5A25D23-F6C6-C9F5-47F9-28130176520C}"/>
          </ac:spMkLst>
        </pc:spChg>
        <pc:spChg chg="mod">
          <ac:chgData name="Otavio Augusto Sabia Gava" userId="68ac195b-011b-467c-86d4-321df89323d0" providerId="ADAL" clId="{30C8E33C-321C-418E-8B3B-128591160133}" dt="2024-04-09T21:14:11.007" v="521" actId="14100"/>
          <ac:spMkLst>
            <pc:docMk/>
            <pc:sldMk cId="1261726688" sldId="3062"/>
            <ac:spMk id="45" creationId="{DC268514-2410-1D62-532C-031408838129}"/>
          </ac:spMkLst>
        </pc:spChg>
        <pc:spChg chg="mod">
          <ac:chgData name="Otavio Augusto Sabia Gava" userId="68ac195b-011b-467c-86d4-321df89323d0" providerId="ADAL" clId="{30C8E33C-321C-418E-8B3B-128591160133}" dt="2024-04-09T21:16:26.797" v="576" actId="20577"/>
          <ac:spMkLst>
            <pc:docMk/>
            <pc:sldMk cId="1261726688" sldId="3062"/>
            <ac:spMk id="46" creationId="{766C400E-0027-0F4E-AD55-4183DE4DB6B1}"/>
          </ac:spMkLst>
        </pc:spChg>
        <pc:spChg chg="del mod">
          <ac:chgData name="Otavio Augusto Sabia Gava" userId="68ac195b-011b-467c-86d4-321df89323d0" providerId="ADAL" clId="{30C8E33C-321C-418E-8B3B-128591160133}" dt="2024-04-09T21:16:28.556" v="577" actId="478"/>
          <ac:spMkLst>
            <pc:docMk/>
            <pc:sldMk cId="1261726688" sldId="3062"/>
            <ac:spMk id="47" creationId="{23B89E7B-2599-755F-C039-96A7BB23F76D}"/>
          </ac:spMkLst>
        </pc:spChg>
        <pc:picChg chg="add del">
          <ac:chgData name="Otavio Augusto Sabia Gava" userId="68ac195b-011b-467c-86d4-321df89323d0" providerId="ADAL" clId="{30C8E33C-321C-418E-8B3B-128591160133}" dt="2024-04-09T21:13:47.669" v="515" actId="478"/>
          <ac:picMkLst>
            <pc:docMk/>
            <pc:sldMk cId="1261726688" sldId="3062"/>
            <ac:picMk id="14" creationId="{5E851F29-18E0-5597-EC31-727B41528D13}"/>
          </ac:picMkLst>
        </pc:picChg>
        <pc:picChg chg="add del">
          <ac:chgData name="Otavio Augusto Sabia Gava" userId="68ac195b-011b-467c-86d4-321df89323d0" providerId="ADAL" clId="{30C8E33C-321C-418E-8B3B-128591160133}" dt="2024-04-09T21:13:47.669" v="515" actId="478"/>
          <ac:picMkLst>
            <pc:docMk/>
            <pc:sldMk cId="1261726688" sldId="3062"/>
            <ac:picMk id="17" creationId="{4FFFC6A4-A407-4A26-4ACB-76103149D375}"/>
          </ac:picMkLst>
        </pc:picChg>
        <pc:picChg chg="mod">
          <ac:chgData name="Otavio Augusto Sabia Gava" userId="68ac195b-011b-467c-86d4-321df89323d0" providerId="ADAL" clId="{30C8E33C-321C-418E-8B3B-128591160133}" dt="2024-04-09T21:15:58.210" v="548" actId="1076"/>
          <ac:picMkLst>
            <pc:docMk/>
            <pc:sldMk cId="1261726688" sldId="3062"/>
            <ac:picMk id="19" creationId="{9C31F897-921A-07ED-9730-1BC25AD4312B}"/>
          </ac:picMkLst>
        </pc:picChg>
        <pc:picChg chg="mod">
          <ac:chgData name="Otavio Augusto Sabia Gava" userId="68ac195b-011b-467c-86d4-321df89323d0" providerId="ADAL" clId="{30C8E33C-321C-418E-8B3B-128591160133}" dt="2024-04-09T21:15:25.317" v="539" actId="1076"/>
          <ac:picMkLst>
            <pc:docMk/>
            <pc:sldMk cId="1261726688" sldId="3062"/>
            <ac:picMk id="36" creationId="{372085E2-B1C9-4354-7ECD-ECE4BBC2124A}"/>
          </ac:picMkLst>
        </pc:picChg>
        <pc:picChg chg="del">
          <ac:chgData name="Otavio Augusto Sabia Gava" userId="68ac195b-011b-467c-86d4-321df89323d0" providerId="ADAL" clId="{30C8E33C-321C-418E-8B3B-128591160133}" dt="2024-04-09T21:25:24.036" v="1053" actId="478"/>
          <ac:picMkLst>
            <pc:docMk/>
            <pc:sldMk cId="1261726688" sldId="3062"/>
            <ac:picMk id="52" creationId="{D5F12E28-134D-7B9F-8EDB-B77F03377482}"/>
          </ac:picMkLst>
        </pc:picChg>
        <pc:cxnChg chg="add del">
          <ac:chgData name="Otavio Augusto Sabia Gava" userId="68ac195b-011b-467c-86d4-321df89323d0" providerId="ADAL" clId="{30C8E33C-321C-418E-8B3B-128591160133}" dt="2024-04-09T21:13:47.669" v="515" actId="478"/>
          <ac:cxnSpMkLst>
            <pc:docMk/>
            <pc:sldMk cId="1261726688" sldId="3062"/>
            <ac:cxnSpMk id="12" creationId="{EBDC1D77-F697-4251-5D60-F518B9935E63}"/>
          </ac:cxnSpMkLst>
        </pc:cxnChg>
        <pc:cxnChg chg="add del">
          <ac:chgData name="Otavio Augusto Sabia Gava" userId="68ac195b-011b-467c-86d4-321df89323d0" providerId="ADAL" clId="{30C8E33C-321C-418E-8B3B-128591160133}" dt="2024-04-09T21:13:47.669" v="515" actId="478"/>
          <ac:cxnSpMkLst>
            <pc:docMk/>
            <pc:sldMk cId="1261726688" sldId="3062"/>
            <ac:cxnSpMk id="21" creationId="{0E22AC88-0764-98F0-593F-DFDA6A041A0D}"/>
          </ac:cxnSpMkLst>
        </pc:cxnChg>
        <pc:cxnChg chg="mod">
          <ac:chgData name="Otavio Augusto Sabia Gava" userId="68ac195b-011b-467c-86d4-321df89323d0" providerId="ADAL" clId="{30C8E33C-321C-418E-8B3B-128591160133}" dt="2024-04-10T12:22:33.250" v="1246" actId="14100"/>
          <ac:cxnSpMkLst>
            <pc:docMk/>
            <pc:sldMk cId="1261726688" sldId="3062"/>
            <ac:cxnSpMk id="22" creationId="{F7D86CB6-F696-F2C8-31EF-D8D51860799A}"/>
          </ac:cxnSpMkLst>
        </pc:cxnChg>
        <pc:cxnChg chg="add del mod">
          <ac:chgData name="Otavio Augusto Sabia Gava" userId="68ac195b-011b-467c-86d4-321df89323d0" providerId="ADAL" clId="{30C8E33C-321C-418E-8B3B-128591160133}" dt="2024-04-10T12:22:31.266" v="1245" actId="1076"/>
          <ac:cxnSpMkLst>
            <pc:docMk/>
            <pc:sldMk cId="1261726688" sldId="3062"/>
            <ac:cxnSpMk id="23" creationId="{FBA8039F-2A04-DA91-568B-07DFA8DF5D0A}"/>
          </ac:cxnSpMkLst>
        </pc:cxnChg>
        <pc:cxnChg chg="del">
          <ac:chgData name="Otavio Augusto Sabia Gava" userId="68ac195b-011b-467c-86d4-321df89323d0" providerId="ADAL" clId="{30C8E33C-321C-418E-8B3B-128591160133}" dt="2024-04-09T21:16:56.986" v="589" actId="478"/>
          <ac:cxnSpMkLst>
            <pc:docMk/>
            <pc:sldMk cId="1261726688" sldId="3062"/>
            <ac:cxnSpMk id="24" creationId="{F5BC94D2-6927-5EEE-916B-CC931AEBE273}"/>
          </ac:cxnSpMkLst>
        </pc:cxnChg>
        <pc:cxnChg chg="mod">
          <ac:chgData name="Otavio Augusto Sabia Gava" userId="68ac195b-011b-467c-86d4-321df89323d0" providerId="ADAL" clId="{30C8E33C-321C-418E-8B3B-128591160133}" dt="2024-04-09T21:16:58.954" v="590" actId="14100"/>
          <ac:cxnSpMkLst>
            <pc:docMk/>
            <pc:sldMk cId="1261726688" sldId="3062"/>
            <ac:cxnSpMk id="25" creationId="{FF54B36B-8AE8-1794-4566-9E62F225A0C5}"/>
          </ac:cxnSpMkLst>
        </pc:cxnChg>
        <pc:cxnChg chg="mod">
          <ac:chgData name="Otavio Augusto Sabia Gava" userId="68ac195b-011b-467c-86d4-321df89323d0" providerId="ADAL" clId="{30C8E33C-321C-418E-8B3B-128591160133}" dt="2024-04-09T21:16:55.762" v="588" actId="14100"/>
          <ac:cxnSpMkLst>
            <pc:docMk/>
            <pc:sldMk cId="1261726688" sldId="3062"/>
            <ac:cxnSpMk id="26" creationId="{3B441DF4-C21A-E34A-58B4-36D2FBAFF5A5}"/>
          </ac:cxnSpMkLst>
        </pc:cxnChg>
        <pc:cxnChg chg="add del">
          <ac:chgData name="Otavio Augusto Sabia Gava" userId="68ac195b-011b-467c-86d4-321df89323d0" providerId="ADAL" clId="{30C8E33C-321C-418E-8B3B-128591160133}" dt="2024-04-09T21:13:47.669" v="515" actId="478"/>
          <ac:cxnSpMkLst>
            <pc:docMk/>
            <pc:sldMk cId="1261726688" sldId="3062"/>
            <ac:cxnSpMk id="34" creationId="{33D2FB48-0F35-6D43-1AD6-7CAAC7A6A766}"/>
          </ac:cxnSpMkLst>
        </pc:cxnChg>
        <pc:cxnChg chg="mod">
          <ac:chgData name="Otavio Augusto Sabia Gava" userId="68ac195b-011b-467c-86d4-321df89323d0" providerId="ADAL" clId="{30C8E33C-321C-418E-8B3B-128591160133}" dt="2024-04-10T12:22:46.132" v="1251" actId="1076"/>
          <ac:cxnSpMkLst>
            <pc:docMk/>
            <pc:sldMk cId="1261726688" sldId="3062"/>
            <ac:cxnSpMk id="40" creationId="{834EA393-0978-07A5-0684-919FB75017D7}"/>
          </ac:cxnSpMkLst>
        </pc:cxnChg>
        <pc:cxnChg chg="mod">
          <ac:chgData name="Otavio Augusto Sabia Gava" userId="68ac195b-011b-467c-86d4-321df89323d0" providerId="ADAL" clId="{30C8E33C-321C-418E-8B3B-128591160133}" dt="2024-04-10T12:22:49.423" v="1252" actId="14100"/>
          <ac:cxnSpMkLst>
            <pc:docMk/>
            <pc:sldMk cId="1261726688" sldId="3062"/>
            <ac:cxnSpMk id="41" creationId="{96BF56D9-3A61-29C7-14A8-FECD0F09D877}"/>
          </ac:cxnSpMkLst>
        </pc:cxnChg>
        <pc:cxnChg chg="add del">
          <ac:chgData name="Otavio Augusto Sabia Gava" userId="68ac195b-011b-467c-86d4-321df89323d0" providerId="ADAL" clId="{30C8E33C-321C-418E-8B3B-128591160133}" dt="2024-04-09T21:13:47.669" v="515" actId="478"/>
          <ac:cxnSpMkLst>
            <pc:docMk/>
            <pc:sldMk cId="1261726688" sldId="3062"/>
            <ac:cxnSpMk id="44" creationId="{1901EF7B-AA3C-E763-B485-D9BDC1033725}"/>
          </ac:cxnSpMkLst>
        </pc:cxnChg>
      </pc:sldChg>
      <pc:sldChg chg="addSp delSp modSp add mod">
        <pc:chgData name="Otavio Augusto Sabia Gava" userId="68ac195b-011b-467c-86d4-321df89323d0" providerId="ADAL" clId="{30C8E33C-321C-418E-8B3B-128591160133}" dt="2024-04-15T20:55:50.527" v="1948" actId="20577"/>
        <pc:sldMkLst>
          <pc:docMk/>
          <pc:sldMk cId="1720574420" sldId="3063"/>
        </pc:sldMkLst>
        <pc:spChg chg="del">
          <ac:chgData name="Otavio Augusto Sabia Gava" userId="68ac195b-011b-467c-86d4-321df89323d0" providerId="ADAL" clId="{30C8E33C-321C-418E-8B3B-128591160133}" dt="2024-04-09T21:27:37.024" v="1078" actId="478"/>
          <ac:spMkLst>
            <pc:docMk/>
            <pc:sldMk cId="1720574420" sldId="3063"/>
            <ac:spMk id="3" creationId="{F77AF5BC-EFBA-440A-5FFC-D720DCFCD258}"/>
          </ac:spMkLst>
        </pc:spChg>
        <pc:spChg chg="mod">
          <ac:chgData name="Otavio Augusto Sabia Gava" userId="68ac195b-011b-467c-86d4-321df89323d0" providerId="ADAL" clId="{30C8E33C-321C-418E-8B3B-128591160133}" dt="2024-04-09T21:27:08.458" v="1076" actId="20577"/>
          <ac:spMkLst>
            <pc:docMk/>
            <pc:sldMk cId="1720574420" sldId="3063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8" creationId="{5830A6D6-EB8D-089F-C9DD-67EF13A9F4D7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9" creationId="{B4675E0C-53F6-AAED-37AE-74CFF231230C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0" creationId="{631584B4-875C-5638-73A5-257C33B08C58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2" creationId="{29CA44F6-AE19-6E8C-DAE9-49EE05CF4BC5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4" creationId="{372BA7A7-A833-343E-3D30-F78FCD044454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5" creationId="{ACFCB731-3809-43AB-E79E-CFA4F8CC7B1C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6" creationId="{CDB50F55-990B-F0A0-2D46-983955A9178C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7" creationId="{6191B3D9-6BEE-FC1D-2961-B08F0D6CD07D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8" creationId="{E4ADD070-DEF2-5CAA-DCFC-1F50F7329EDE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19" creationId="{E67CD68A-8910-829F-B65B-779BCBEB87DC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20" creationId="{C3240A36-0F8A-B283-E7E8-48A251C6F8A8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21" creationId="{6B8489AB-2A95-CF58-4E5E-AC7DB6148B42}"/>
          </ac:spMkLst>
        </pc:spChg>
        <pc:spChg chg="del">
          <ac:chgData name="Otavio Augusto Sabia Gava" userId="68ac195b-011b-467c-86d4-321df89323d0" providerId="ADAL" clId="{30C8E33C-321C-418E-8B3B-128591160133}" dt="2024-04-09T21:26:30.047" v="1057" actId="478"/>
          <ac:spMkLst>
            <pc:docMk/>
            <pc:sldMk cId="1720574420" sldId="3063"/>
            <ac:spMk id="22" creationId="{1242D27C-6D11-AF3A-05DE-C74C6C72E549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25" creationId="{2EAE5502-9A2E-25EB-6E92-699D1AD7B0DA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29" creationId="{C884268D-CC2A-F1EF-D054-CF5AD5B493FE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33" creationId="{BE67B1AC-BEFE-35D6-0A6C-700E3CDEA268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34" creationId="{7A900CD2-7DB2-408F-AB08-B941EA40630E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35" creationId="{B1B8AF4A-8A0C-CFE3-3A6C-6B132866922A}"/>
          </ac:spMkLst>
        </pc:spChg>
        <pc:spChg chg="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37" creationId="{DAD96835-143A-DFE0-52E7-7B85D52E00E7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43" creationId="{5BB591A0-5B0A-43A3-87DE-E99F778508D9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44" creationId="{E8FF6F19-AD59-CBA4-6197-9D318B4CCA09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45" creationId="{F427EB41-2129-91DC-1342-4F6653E65FEE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48" creationId="{38AA1DBA-8A4B-0D4A-2C37-B203FA69D0A7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52" creationId="{520247AB-51B1-4ABA-0A67-933CE489A779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56" creationId="{7E12AAEA-A27D-E8EC-B0C6-AD48B0EA11A9}"/>
          </ac:spMkLst>
        </pc:spChg>
        <pc:spChg chg="add mod">
          <ac:chgData name="Otavio Augusto Sabia Gava" userId="68ac195b-011b-467c-86d4-321df89323d0" providerId="ADAL" clId="{30C8E33C-321C-418E-8B3B-128591160133}" dt="2024-04-11T12:37:30.973" v="1889" actId="1037"/>
          <ac:spMkLst>
            <pc:docMk/>
            <pc:sldMk cId="1720574420" sldId="3063"/>
            <ac:spMk id="59" creationId="{36E61E8C-04E2-67F7-197A-CFDBEBBDF028}"/>
          </ac:spMkLst>
        </pc:spChg>
        <pc:spChg chg="add mod">
          <ac:chgData name="Otavio Augusto Sabia Gava" userId="68ac195b-011b-467c-86d4-321df89323d0" providerId="ADAL" clId="{30C8E33C-321C-418E-8B3B-128591160133}" dt="2024-04-09T21:27:33.567" v="1077"/>
          <ac:spMkLst>
            <pc:docMk/>
            <pc:sldMk cId="1720574420" sldId="3063"/>
            <ac:spMk id="60" creationId="{6740158A-662E-C657-C523-F7203D454C5A}"/>
          </ac:spMkLst>
        </pc:spChg>
        <pc:spChg chg="add mod">
          <ac:chgData name="Otavio Augusto Sabia Gava" userId="68ac195b-011b-467c-86d4-321df89323d0" providerId="ADAL" clId="{30C8E33C-321C-418E-8B3B-128591160133}" dt="2024-04-15T20:55:50.527" v="1948" actId="20577"/>
          <ac:spMkLst>
            <pc:docMk/>
            <pc:sldMk cId="1720574420" sldId="3063"/>
            <ac:spMk id="61" creationId="{2F3476B1-3F2A-0DB6-50E5-48D3C389C976}"/>
          </ac:spMkLst>
        </pc:spChg>
        <pc:spChg chg="add mod">
          <ac:chgData name="Otavio Augusto Sabia Gava" userId="68ac195b-011b-467c-86d4-321df89323d0" providerId="ADAL" clId="{30C8E33C-321C-418E-8B3B-128591160133}" dt="2024-04-11T12:37:34.228" v="1898" actId="1037"/>
          <ac:spMkLst>
            <pc:docMk/>
            <pc:sldMk cId="1720574420" sldId="3063"/>
            <ac:spMk id="63" creationId="{E1F9A3F7-A697-9B36-35D1-7C3B448A0D6F}"/>
          </ac:spMkLst>
        </pc:spChg>
        <pc:spChg chg="add del mod">
          <ac:chgData name="Otavio Augusto Sabia Gava" userId="68ac195b-011b-467c-86d4-321df89323d0" providerId="ADAL" clId="{30C8E33C-321C-418E-8B3B-128591160133}" dt="2024-04-09T21:27:38.822" v="1079" actId="478"/>
          <ac:spMkLst>
            <pc:docMk/>
            <pc:sldMk cId="1720574420" sldId="3063"/>
            <ac:spMk id="66" creationId="{DE41C3CF-BA3F-EF70-2732-E33513E81A6D}"/>
          </ac:spMkLst>
        </pc:spChg>
        <pc:grpChg chg="add mod">
          <ac:chgData name="Otavio Augusto Sabia Gava" userId="68ac195b-011b-467c-86d4-321df89323d0" providerId="ADAL" clId="{30C8E33C-321C-418E-8B3B-128591160133}" dt="2024-04-09T21:27:33.567" v="1077"/>
          <ac:grpSpMkLst>
            <pc:docMk/>
            <pc:sldMk cId="1720574420" sldId="3063"/>
            <ac:grpSpMk id="36" creationId="{EC63E63E-482D-F753-BFEB-07FE31805D7B}"/>
          </ac:grpSpMkLst>
        </pc:grpChg>
        <pc:graphicFrameChg chg="add del mod">
          <ac:chgData name="Otavio Augusto Sabia Gava" userId="68ac195b-011b-467c-86d4-321df89323d0" providerId="ADAL" clId="{30C8E33C-321C-418E-8B3B-128591160133}" dt="2024-04-11T12:36:34.082" v="1872" actId="478"/>
          <ac:graphicFrameMkLst>
            <pc:docMk/>
            <pc:sldMk cId="1720574420" sldId="3063"/>
            <ac:graphicFrameMk id="62" creationId="{1DA3DF8D-18BF-9626-0DCF-72ED5B61F06D}"/>
          </ac:graphicFrameMkLst>
        </pc:graphicFrameChg>
        <pc:picChg chg="del">
          <ac:chgData name="Otavio Augusto Sabia Gava" userId="68ac195b-011b-467c-86d4-321df89323d0" providerId="ADAL" clId="{30C8E33C-321C-418E-8B3B-128591160133}" dt="2024-04-09T21:26:31.067" v="1059" actId="478"/>
          <ac:picMkLst>
            <pc:docMk/>
            <pc:sldMk cId="1720574420" sldId="3063"/>
            <ac:picMk id="2" creationId="{CEF35391-9441-A3EA-86D1-1B9D6ED2FEF1}"/>
          </ac:picMkLst>
        </pc:picChg>
        <pc:picChg chg="add del">
          <ac:chgData name="Otavio Augusto Sabia Gava" userId="68ac195b-011b-467c-86d4-321df89323d0" providerId="ADAL" clId="{30C8E33C-321C-418E-8B3B-128591160133}" dt="2024-04-11T12:36:16.022" v="1870" actId="22"/>
          <ac:picMkLst>
            <pc:docMk/>
            <pc:sldMk cId="1720574420" sldId="3063"/>
            <ac:picMk id="3" creationId="{D15B0EC1-AEF1-BF9C-2601-E83EC8BD3F77}"/>
          </ac:picMkLst>
        </pc:picChg>
        <pc:picChg chg="del">
          <ac:chgData name="Otavio Augusto Sabia Gava" userId="68ac195b-011b-467c-86d4-321df89323d0" providerId="ADAL" clId="{30C8E33C-321C-418E-8B3B-128591160133}" dt="2024-04-09T21:26:30.769" v="1058" actId="478"/>
          <ac:picMkLst>
            <pc:docMk/>
            <pc:sldMk cId="1720574420" sldId="3063"/>
            <ac:picMk id="4" creationId="{94D8DB6B-A7E1-5611-5C1D-0A5253BF4988}"/>
          </ac:picMkLst>
        </pc:picChg>
        <pc:picChg chg="add mod modCrop">
          <ac:chgData name="Otavio Augusto Sabia Gava" userId="68ac195b-011b-467c-86d4-321df89323d0" providerId="ADAL" clId="{30C8E33C-321C-418E-8B3B-128591160133}" dt="2024-04-11T12:37:13.752" v="1884" actId="1440"/>
          <ac:picMkLst>
            <pc:docMk/>
            <pc:sldMk cId="1720574420" sldId="3063"/>
            <ac:picMk id="6" creationId="{2FD7C4BA-D30C-0FED-5F71-FA1786A0000F}"/>
          </ac:picMkLst>
        </pc:picChg>
        <pc:picChg chg="add del mod">
          <ac:chgData name="Otavio Augusto Sabia Gava" userId="68ac195b-011b-467c-86d4-321df89323d0" providerId="ADAL" clId="{30C8E33C-321C-418E-8B3B-128591160133}" dt="2024-04-09T21:31:29.765" v="1103" actId="478"/>
          <ac:picMkLst>
            <pc:docMk/>
            <pc:sldMk cId="1720574420" sldId="3063"/>
            <ac:picMk id="6" creationId="{BC78F944-AAB8-F710-1F2E-CA149C6DD49C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7" creationId="{F29E67D9-E7EC-42D7-D58B-D26457EB3D07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13" creationId="{A65E66FB-348A-7947-49C7-5ECC68E305F9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23" creationId="{BB3BB671-E762-0D5E-805C-E331551FCC1C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26" creationId="{EA9339F6-5C16-3075-3BC2-87E7D321FDA9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28" creationId="{98AA90C5-2423-6767-1D8A-60E89F4CA0DB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30" creationId="{72DFFE9B-1832-D9CF-D501-9A2AF79C819A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31" creationId="{2A295C47-BD4C-33B3-8C26-BF93295D8660}"/>
          </ac:picMkLst>
        </pc:picChg>
        <pc:picChg chg="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38" creationId="{637A7F10-ADF7-D7D7-AF94-34D41EF6812E}"/>
          </ac:picMkLst>
        </pc:picChg>
        <pc:picChg chg="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39" creationId="{D585F22A-6C6D-D7DF-F26A-3A45D759D797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41" creationId="{81938DBD-C6F8-D466-D196-0B5494BAC79C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46" creationId="{021F94AF-32CC-846C-7839-9010D888DE34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51" creationId="{D14801E4-B6D2-AA0A-04FA-9AA46C7B1A64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53" creationId="{C3B8695E-02FD-4A69-F64B-4C63C7F54D24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54" creationId="{CA4F544E-31BC-E474-BF7E-B71C5349BAE9}"/>
          </ac:picMkLst>
        </pc:picChg>
        <pc:picChg chg="add mod">
          <ac:chgData name="Otavio Augusto Sabia Gava" userId="68ac195b-011b-467c-86d4-321df89323d0" providerId="ADAL" clId="{30C8E33C-321C-418E-8B3B-128591160133}" dt="2024-04-09T21:27:33.567" v="1077"/>
          <ac:picMkLst>
            <pc:docMk/>
            <pc:sldMk cId="1720574420" sldId="3063"/>
            <ac:picMk id="57" creationId="{273A9EB5-CF3F-6339-2B1C-5FA3ACF7FF82}"/>
          </ac:picMkLst>
        </pc:picChg>
        <pc:picChg chg="add del mod">
          <ac:chgData name="Otavio Augusto Sabia Gava" userId="68ac195b-011b-467c-86d4-321df89323d0" providerId="ADAL" clId="{30C8E33C-321C-418E-8B3B-128591160133}" dt="2024-04-09T21:31:30.126" v="1104" actId="478"/>
          <ac:picMkLst>
            <pc:docMk/>
            <pc:sldMk cId="1720574420" sldId="3063"/>
            <ac:picMk id="64" creationId="{40681DEC-D8FE-CA41-6121-36D7CFC27569}"/>
          </ac:picMkLst>
        </pc:pic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11" creationId="{D72A0EA1-0C71-C6D8-DB60-09504E5D1B73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24" creationId="{08E9B7C4-438D-386E-7E09-25ECF57C5744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27" creationId="{01A697AC-6752-872B-BBB3-4ECD73B0D7E3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32" creationId="{3E5EBB3C-00E9-4329-532A-8D653852AF2E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40" creationId="{C24938CB-A1C8-DFE8-6167-671B4D66CF35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42" creationId="{A808E935-F386-949E-AE18-33176E56C9B8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47" creationId="{AFBA07AD-D5A9-33BE-217F-E32FE5884FB5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49" creationId="{02FBCF8D-21D7-D2C0-323E-2A29B33B013D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50" creationId="{F4CA8993-7A74-3396-825E-234F10AE70E9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55" creationId="{F969080F-F219-C940-0006-72F3742D8DEF}"/>
          </ac:cxnSpMkLst>
        </pc:cxnChg>
        <pc:cxnChg chg="add mod">
          <ac:chgData name="Otavio Augusto Sabia Gava" userId="68ac195b-011b-467c-86d4-321df89323d0" providerId="ADAL" clId="{30C8E33C-321C-418E-8B3B-128591160133}" dt="2024-04-09T21:27:33.567" v="1077"/>
          <ac:cxnSpMkLst>
            <pc:docMk/>
            <pc:sldMk cId="1720574420" sldId="3063"/>
            <ac:cxnSpMk id="58" creationId="{F915CD0D-2C8C-591A-9FA2-F0FCB6F44C51}"/>
          </ac:cxnSpMkLst>
        </pc:cxnChg>
      </pc:sldChg>
      <pc:sldChg chg="addSp delSp modSp add mod">
        <pc:chgData name="Otavio Augusto Sabia Gava" userId="68ac195b-011b-467c-86d4-321df89323d0" providerId="ADAL" clId="{30C8E33C-321C-418E-8B3B-128591160133}" dt="2024-04-15T21:04:20.899" v="2259" actId="20577"/>
        <pc:sldMkLst>
          <pc:docMk/>
          <pc:sldMk cId="2927437767" sldId="3064"/>
        </pc:sldMkLst>
        <pc:spChg chg="del">
          <ac:chgData name="Otavio Augusto Sabia Gava" userId="68ac195b-011b-467c-86d4-321df89323d0" providerId="ADAL" clId="{30C8E33C-321C-418E-8B3B-128591160133}" dt="2024-04-09T21:28:21.345" v="1096" actId="478"/>
          <ac:spMkLst>
            <pc:docMk/>
            <pc:sldMk cId="2927437767" sldId="3064"/>
            <ac:spMk id="3" creationId="{F77AF5BC-EFBA-440A-5FFC-D720DCFCD258}"/>
          </ac:spMkLst>
        </pc:spChg>
        <pc:spChg chg="add del mod">
          <ac:chgData name="Otavio Augusto Sabia Gava" userId="68ac195b-011b-467c-86d4-321df89323d0" providerId="ADAL" clId="{30C8E33C-321C-418E-8B3B-128591160133}" dt="2024-04-09T21:28:41.115" v="1098" actId="478"/>
          <ac:spMkLst>
            <pc:docMk/>
            <pc:sldMk cId="2927437767" sldId="3064"/>
            <ac:spMk id="4" creationId="{A1263E36-33D4-0CC0-D220-B66D3D040FAF}"/>
          </ac:spMkLst>
        </pc:spChg>
        <pc:spChg chg="mod">
          <ac:chgData name="Otavio Augusto Sabia Gava" userId="68ac195b-011b-467c-86d4-321df89323d0" providerId="ADAL" clId="{30C8E33C-321C-418E-8B3B-128591160133}" dt="2024-04-09T21:28:17.407" v="1095" actId="20577"/>
          <ac:spMkLst>
            <pc:docMk/>
            <pc:sldMk cId="2927437767" sldId="3064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7" creationId="{40F44F5F-0CD5-83E7-7DEB-12CE3C3CCA5A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9" creationId="{1B28FAD6-E92B-E0AF-6066-CBC8B113DBFB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2" creationId="{239F90A3-29BB-5CD8-08E1-A8224B3E19D2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4" creationId="{AA9247BD-4267-8495-061F-07D28E167FCA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5" creationId="{457AD211-844A-A62C-F345-6A9AF0D2F078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6" creationId="{445BFE2B-458E-D4BD-97B4-0B42DADC6CD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7" creationId="{97A8F1F2-0EF0-D343-C57D-89E2FBF235BE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18" creationId="{82EA973A-C539-5702-B32A-058D327CD36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2" creationId="{2E5C46BF-4244-56B9-9FCB-01F092314172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3" creationId="{4B50FF9F-89A9-7D83-67C3-8710DF23F4E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4" creationId="{20D1674B-1066-81A7-92DD-66A9238FB4F7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5" creationId="{E5D2A6C5-288F-98F3-1BF9-65B14AA01613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8" creationId="{AD120E70-9CB6-36E1-D163-5AA0F7F6C22D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29" creationId="{673053A1-36DF-BBA9-D0BC-5EA5E3931A1D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30" creationId="{0DE5A58A-690C-F150-F2D9-CA243374F202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33" creationId="{7DA357D3-0523-9758-53D0-CC2F04DCE206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36" creationId="{08B6FBFF-C0E8-C548-5D30-BAB2AFCE80CC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37" creationId="{6BA724F4-3C84-378B-D966-98F316738E13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41" creationId="{13A8AA87-D74C-E065-B8AE-6E4C1BFC3AD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43" creationId="{E1D78474-87FF-79AD-8E22-3C504C12549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44" creationId="{54B0E645-BF3B-DDFD-91EE-A86C7B3D059F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47" creationId="{24692422-B362-64EC-E2FB-A02B17D87366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49" creationId="{07BCB5E4-D2A1-C11E-CCEC-DA32AF0D0E91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1" creationId="{986DBF5E-180A-052A-D6FC-6FDD6412C3F5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2" creationId="{E0271922-05A8-8139-D91F-CD29308A2B70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3" creationId="{A85BC47E-4E72-07D4-C5A0-949DE2A7B7EA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4" creationId="{D16F1526-70DB-13B3-4E09-6C30C6DA7676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5" creationId="{995D1230-BEC4-F225-4EF5-1B04A36609DE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6" creationId="{99441EB0-4ABB-76C6-128E-714BD58FD62E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7" creationId="{C44F0982-2391-D59A-DEE7-62532DBC49F6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8" creationId="{4E39D88D-910B-1D7A-FADF-632158D1B209}"/>
          </ac:spMkLst>
        </pc:spChg>
        <pc:spChg chg="add mod">
          <ac:chgData name="Otavio Augusto Sabia Gava" userId="68ac195b-011b-467c-86d4-321df89323d0" providerId="ADAL" clId="{30C8E33C-321C-418E-8B3B-128591160133}" dt="2024-04-09T21:28:39.320" v="1097"/>
          <ac:spMkLst>
            <pc:docMk/>
            <pc:sldMk cId="2927437767" sldId="3064"/>
            <ac:spMk id="59" creationId="{CE612C82-AED2-04AA-58EC-C49E4C6C3B12}"/>
          </ac:spMkLst>
        </pc:spChg>
        <pc:spChg chg="add mod">
          <ac:chgData name="Otavio Augusto Sabia Gava" userId="68ac195b-011b-467c-86d4-321df89323d0" providerId="ADAL" clId="{30C8E33C-321C-418E-8B3B-128591160133}" dt="2024-04-15T21:04:20.899" v="2259" actId="20577"/>
          <ac:spMkLst>
            <pc:docMk/>
            <pc:sldMk cId="2927437767" sldId="3064"/>
            <ac:spMk id="60" creationId="{C9A77843-C3E5-3C5B-A331-6333F66133E4}"/>
          </ac:spMkLst>
        </pc:spChg>
        <pc:picChg chg="add del mod">
          <ac:chgData name="Otavio Augusto Sabia Gava" userId="68ac195b-011b-467c-86d4-321df89323d0" providerId="ADAL" clId="{30C8E33C-321C-418E-8B3B-128591160133}" dt="2024-04-09T21:28:43.274" v="1099" actId="478"/>
          <ac:picMkLst>
            <pc:docMk/>
            <pc:sldMk cId="2927437767" sldId="3064"/>
            <ac:picMk id="6" creationId="{0073F094-18D6-E0CD-8534-21A695494244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8" creationId="{CCD2DFD7-8FB8-BFA6-0DDA-11F673882A4B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11" creationId="{B58C744A-64DF-D068-82EB-0A64B335D8E8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13" creationId="{B885C1B8-34F3-FD3D-775C-07A13A220AA9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19" creationId="{DD7E8799-BDD5-E77C-D9A0-4A91D70593DF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20" creationId="{40A7591C-2059-72D8-6653-A3285F6D7F50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21" creationId="{149A2B74-222F-44FE-5054-494B9EEC6260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26" creationId="{68EA6619-8726-FB45-AB80-E85A152B86E2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31" creationId="{7F86E832-2010-E17B-68CF-5815BDB8A1A6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32" creationId="{A4F52020-376B-5D90-F143-E680A0DCC542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38" creationId="{3E2AC059-F684-1EA0-E9D2-CDC0DE9F3EE3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42" creationId="{EE93EBC0-B77D-08F8-A061-CAF00195A21F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45" creationId="{B07D2CEE-00F6-0B3F-19B7-872C4B967452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48" creationId="{EBDF8C5D-DCC0-D0B7-4621-326E8022C2DB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61" creationId="{0917C035-4B0B-6E81-C965-A15452FDB7F9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62" creationId="{F2E5E443-D50A-64E3-F14A-7C3EF641B79E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63" creationId="{10F58CB2-B62C-D58E-6BDE-C03CF3DD1CFD}"/>
          </ac:picMkLst>
        </pc:picChg>
        <pc:picChg chg="add mod">
          <ac:chgData name="Otavio Augusto Sabia Gava" userId="68ac195b-011b-467c-86d4-321df89323d0" providerId="ADAL" clId="{30C8E33C-321C-418E-8B3B-128591160133}" dt="2024-04-09T21:28:39.320" v="1097"/>
          <ac:picMkLst>
            <pc:docMk/>
            <pc:sldMk cId="2927437767" sldId="3064"/>
            <ac:picMk id="64" creationId="{CC24B45B-2B34-7A3F-FF6A-D7EF0ECC4BD3}"/>
          </ac:picMkLst>
        </pc:pic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10" creationId="{0905A2E6-C237-1C70-56ED-2F0CFC9EA479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27" creationId="{BD6A2426-9921-9345-21B1-7E364CD60AAF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34" creationId="{11F186D7-DB56-39AF-45C7-95EE86F3D4F5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35" creationId="{A5473353-5635-89E0-72B9-7FB1D433626E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39" creationId="{911A9ED4-340C-4698-5080-616B18641747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40" creationId="{8793F3A3-3505-44F3-96E1-872F3A54C262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46" creationId="{699B8C34-49D1-A542-44DE-F85760E76999}"/>
          </ac:cxnSpMkLst>
        </pc:cxnChg>
        <pc:cxnChg chg="add mod">
          <ac:chgData name="Otavio Augusto Sabia Gava" userId="68ac195b-011b-467c-86d4-321df89323d0" providerId="ADAL" clId="{30C8E33C-321C-418E-8B3B-128591160133}" dt="2024-04-09T21:28:39.320" v="1097"/>
          <ac:cxnSpMkLst>
            <pc:docMk/>
            <pc:sldMk cId="2927437767" sldId="3064"/>
            <ac:cxnSpMk id="50" creationId="{7DCA3914-8B0C-F95A-14EA-F95CE2EE83E5}"/>
          </ac:cxnSpMkLst>
        </pc:cxnChg>
      </pc:sldChg>
      <pc:sldChg chg="addSp delSp modSp add mod">
        <pc:chgData name="Otavio Augusto Sabia Gava" userId="68ac195b-011b-467c-86d4-321df89323d0" providerId="ADAL" clId="{30C8E33C-321C-418E-8B3B-128591160133}" dt="2024-04-10T12:20:19.155" v="1201" actId="1076"/>
        <pc:sldMkLst>
          <pc:docMk/>
          <pc:sldMk cId="2437472936" sldId="3065"/>
        </pc:sldMkLst>
        <pc:spChg chg="del">
          <ac:chgData name="Otavio Augusto Sabia Gava" userId="68ac195b-011b-467c-86d4-321df89323d0" providerId="ADAL" clId="{30C8E33C-321C-418E-8B3B-128591160133}" dt="2024-04-09T21:29:44.325" v="1101" actId="478"/>
          <ac:spMkLst>
            <pc:docMk/>
            <pc:sldMk cId="2437472936" sldId="3065"/>
            <ac:spMk id="3" creationId="{F77AF5BC-EFBA-440A-5FFC-D720DCFCD258}"/>
          </ac:spMkLst>
        </pc:spChg>
        <pc:spChg chg="add del mod">
          <ac:chgData name="Otavio Augusto Sabia Gava" userId="68ac195b-011b-467c-86d4-321df89323d0" providerId="ADAL" clId="{30C8E33C-321C-418E-8B3B-128591160133}" dt="2024-04-09T21:29:45.686" v="1102" actId="478"/>
          <ac:spMkLst>
            <pc:docMk/>
            <pc:sldMk cId="2437472936" sldId="3065"/>
            <ac:spMk id="4" creationId="{8E0D080F-00C3-2DB6-D1C7-EAEA460311DA}"/>
          </ac:spMkLst>
        </pc:spChg>
        <pc:spChg chg="mod">
          <ac:chgData name="Otavio Augusto Sabia Gava" userId="68ac195b-011b-467c-86d4-321df89323d0" providerId="ADAL" clId="{30C8E33C-321C-418E-8B3B-128591160133}" dt="2024-04-10T12:17:54.470" v="1188" actId="20577"/>
          <ac:spMkLst>
            <pc:docMk/>
            <pc:sldMk cId="2437472936" sldId="3065"/>
            <ac:spMk id="5" creationId="{691BD817-ED31-4962-832B-1254437B69A3}"/>
          </ac:spMkLst>
        </pc:spChg>
        <pc:picChg chg="add mod">
          <ac:chgData name="Otavio Augusto Sabia Gava" userId="68ac195b-011b-467c-86d4-321df89323d0" providerId="ADAL" clId="{30C8E33C-321C-418E-8B3B-128591160133}" dt="2024-04-10T12:20:19.155" v="1201" actId="1076"/>
          <ac:picMkLst>
            <pc:docMk/>
            <pc:sldMk cId="2437472936" sldId="3065"/>
            <ac:picMk id="7" creationId="{61C2A96F-623B-3E83-32F2-74FC285F464C}"/>
          </ac:picMkLst>
        </pc:picChg>
        <pc:picChg chg="add del mod">
          <ac:chgData name="Otavio Augusto Sabia Gava" userId="68ac195b-011b-467c-86d4-321df89323d0" providerId="ADAL" clId="{30C8E33C-321C-418E-8B3B-128591160133}" dt="2024-04-10T12:20:09.733" v="1198" actId="478"/>
          <ac:picMkLst>
            <pc:docMk/>
            <pc:sldMk cId="2437472936" sldId="3065"/>
            <ac:picMk id="1026" creationId="{4EAC2D79-AE71-6FD5-BFD2-C966DC8085BA}"/>
          </ac:picMkLst>
        </pc:picChg>
      </pc:sldChg>
      <pc:sldChg chg="addSp delSp modSp add del mod ord">
        <pc:chgData name="Otavio Augusto Sabia Gava" userId="68ac195b-011b-467c-86d4-321df89323d0" providerId="ADAL" clId="{30C8E33C-321C-418E-8B3B-128591160133}" dt="2024-04-10T14:25:27.350" v="1688" actId="47"/>
        <pc:sldMkLst>
          <pc:docMk/>
          <pc:sldMk cId="1110406498" sldId="3066"/>
        </pc:sldMkLst>
        <pc:spChg chg="add del mod">
          <ac:chgData name="Otavio Augusto Sabia Gava" userId="68ac195b-011b-467c-86d4-321df89323d0" providerId="ADAL" clId="{30C8E33C-321C-418E-8B3B-128591160133}" dt="2024-04-10T12:14:17.980" v="1120" actId="478"/>
          <ac:spMkLst>
            <pc:docMk/>
            <pc:sldMk cId="1110406498" sldId="3066"/>
            <ac:spMk id="4" creationId="{578EF30B-0950-C246-97BE-884BC055021D}"/>
          </ac:spMkLst>
        </pc:spChg>
        <pc:spChg chg="mod">
          <ac:chgData name="Otavio Augusto Sabia Gava" userId="68ac195b-011b-467c-86d4-321df89323d0" providerId="ADAL" clId="{30C8E33C-321C-418E-8B3B-128591160133}" dt="2024-04-10T12:17:43.782" v="1177" actId="20577"/>
          <ac:spMkLst>
            <pc:docMk/>
            <pc:sldMk cId="1110406498" sldId="3066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30C8E33C-321C-418E-8B3B-128591160133}" dt="2024-04-10T14:20:39.984" v="1608" actId="1038"/>
          <ac:spMkLst>
            <pc:docMk/>
            <pc:sldMk cId="1110406498" sldId="3066"/>
            <ac:spMk id="6" creationId="{24286879-470B-9582-A321-21235EEA6865}"/>
          </ac:spMkLst>
        </pc:spChg>
        <pc:spChg chg="add mod">
          <ac:chgData name="Otavio Augusto Sabia Gava" userId="68ac195b-011b-467c-86d4-321df89323d0" providerId="ADAL" clId="{30C8E33C-321C-418E-8B3B-128591160133}" dt="2024-04-10T14:19:59.813" v="1591" actId="20577"/>
          <ac:spMkLst>
            <pc:docMk/>
            <pc:sldMk cId="1110406498" sldId="3066"/>
            <ac:spMk id="8" creationId="{DC754CC7-D342-7DE0-6DA1-04F17EFB117E}"/>
          </ac:spMkLst>
        </pc:spChg>
        <pc:spChg chg="add mod">
          <ac:chgData name="Otavio Augusto Sabia Gava" userId="68ac195b-011b-467c-86d4-321df89323d0" providerId="ADAL" clId="{30C8E33C-321C-418E-8B3B-128591160133}" dt="2024-04-10T14:20:01.413" v="1592" actId="20577"/>
          <ac:spMkLst>
            <pc:docMk/>
            <pc:sldMk cId="1110406498" sldId="3066"/>
            <ac:spMk id="15" creationId="{4678F140-E960-814C-E5D3-F90071D0CA60}"/>
          </ac:spMkLst>
        </pc:spChg>
        <pc:picChg chg="add del mod">
          <ac:chgData name="Otavio Augusto Sabia Gava" userId="68ac195b-011b-467c-86d4-321df89323d0" providerId="ADAL" clId="{30C8E33C-321C-418E-8B3B-128591160133}" dt="2024-04-10T14:20:39.984" v="1608" actId="1038"/>
          <ac:picMkLst>
            <pc:docMk/>
            <pc:sldMk cId="1110406498" sldId="3066"/>
            <ac:picMk id="3" creationId="{66C3F651-C617-E1A8-6964-8CC3DBE76088}"/>
          </ac:picMkLst>
        </pc:picChg>
        <pc:cxnChg chg="add del mod">
          <ac:chgData name="Otavio Augusto Sabia Gava" userId="68ac195b-011b-467c-86d4-321df89323d0" providerId="ADAL" clId="{30C8E33C-321C-418E-8B3B-128591160133}" dt="2024-04-10T12:55:54.897" v="1516" actId="478"/>
          <ac:cxnSpMkLst>
            <pc:docMk/>
            <pc:sldMk cId="1110406498" sldId="3066"/>
            <ac:cxnSpMk id="10" creationId="{25034B15-7E8D-ACB2-C454-2355CB7E3C20}"/>
          </ac:cxnSpMkLst>
        </pc:cxnChg>
        <pc:cxnChg chg="add del mod">
          <ac:chgData name="Otavio Augusto Sabia Gava" userId="68ac195b-011b-467c-86d4-321df89323d0" providerId="ADAL" clId="{30C8E33C-321C-418E-8B3B-128591160133}" dt="2024-04-10T12:55:54.897" v="1516" actId="478"/>
          <ac:cxnSpMkLst>
            <pc:docMk/>
            <pc:sldMk cId="1110406498" sldId="3066"/>
            <ac:cxnSpMk id="11" creationId="{343EC26A-BC79-930D-F761-9045D56F6443}"/>
          </ac:cxnSpMkLst>
        </pc:cxnChg>
        <pc:cxnChg chg="add del mod">
          <ac:chgData name="Otavio Augusto Sabia Gava" userId="68ac195b-011b-467c-86d4-321df89323d0" providerId="ADAL" clId="{30C8E33C-321C-418E-8B3B-128591160133}" dt="2024-04-10T12:55:54.897" v="1516" actId="478"/>
          <ac:cxnSpMkLst>
            <pc:docMk/>
            <pc:sldMk cId="1110406498" sldId="3066"/>
            <ac:cxnSpMk id="12" creationId="{3A9E9E7C-8848-9E2C-41E6-05562DEE1E26}"/>
          </ac:cxnSpMkLst>
        </pc:cxnChg>
        <pc:cxnChg chg="add del mod">
          <ac:chgData name="Otavio Augusto Sabia Gava" userId="68ac195b-011b-467c-86d4-321df89323d0" providerId="ADAL" clId="{30C8E33C-321C-418E-8B3B-128591160133}" dt="2024-04-10T12:55:54.897" v="1516" actId="478"/>
          <ac:cxnSpMkLst>
            <pc:docMk/>
            <pc:sldMk cId="1110406498" sldId="3066"/>
            <ac:cxnSpMk id="13" creationId="{C1EC5313-79D3-935F-535C-A869BBD7CEB1}"/>
          </ac:cxnSpMkLst>
        </pc:cxnChg>
        <pc:cxnChg chg="add mod">
          <ac:chgData name="Otavio Augusto Sabia Gava" userId="68ac195b-011b-467c-86d4-321df89323d0" providerId="ADAL" clId="{30C8E33C-321C-418E-8B3B-128591160133}" dt="2024-04-10T14:20:18.553" v="1595" actId="1582"/>
          <ac:cxnSpMkLst>
            <pc:docMk/>
            <pc:sldMk cId="1110406498" sldId="3066"/>
            <ac:cxnSpMk id="17" creationId="{3F6B8413-521E-46B3-B919-31CB2F749AAA}"/>
          </ac:cxnSpMkLst>
        </pc:cxnChg>
        <pc:cxnChg chg="add mod">
          <ac:chgData name="Otavio Augusto Sabia Gava" userId="68ac195b-011b-467c-86d4-321df89323d0" providerId="ADAL" clId="{30C8E33C-321C-418E-8B3B-128591160133}" dt="2024-04-10T14:20:24.707" v="1597" actId="1076"/>
          <ac:cxnSpMkLst>
            <pc:docMk/>
            <pc:sldMk cId="1110406498" sldId="3066"/>
            <ac:cxnSpMk id="18" creationId="{66CCA485-427A-7E57-0DD2-EC3EC65E1EFE}"/>
          </ac:cxnSpMkLst>
        </pc:cxnChg>
        <pc:cxnChg chg="add mod">
          <ac:chgData name="Otavio Augusto Sabia Gava" userId="68ac195b-011b-467c-86d4-321df89323d0" providerId="ADAL" clId="{30C8E33C-321C-418E-8B3B-128591160133}" dt="2024-04-10T14:20:28.119" v="1599" actId="1076"/>
          <ac:cxnSpMkLst>
            <pc:docMk/>
            <pc:sldMk cId="1110406498" sldId="3066"/>
            <ac:cxnSpMk id="19" creationId="{49A55B77-574A-E780-885E-01BC7487165B}"/>
          </ac:cxnSpMkLst>
        </pc:cxnChg>
        <pc:cxnChg chg="add mod">
          <ac:chgData name="Otavio Augusto Sabia Gava" userId="68ac195b-011b-467c-86d4-321df89323d0" providerId="ADAL" clId="{30C8E33C-321C-418E-8B3B-128591160133}" dt="2024-04-10T14:20:33.039" v="1601" actId="1076"/>
          <ac:cxnSpMkLst>
            <pc:docMk/>
            <pc:sldMk cId="1110406498" sldId="3066"/>
            <ac:cxnSpMk id="20" creationId="{B286C6E1-7E8F-89E6-6905-B1C566CC0B4B}"/>
          </ac:cxnSpMkLst>
        </pc:cxnChg>
      </pc:sldChg>
      <pc:sldChg chg="addSp delSp add mod ord">
        <pc:chgData name="Otavio Augusto Sabia Gava" userId="68ac195b-011b-467c-86d4-321df89323d0" providerId="ADAL" clId="{30C8E33C-321C-418E-8B3B-128591160133}" dt="2024-04-10T12:44:42.515" v="1256" actId="22"/>
        <pc:sldMkLst>
          <pc:docMk/>
          <pc:sldMk cId="1097626068" sldId="3067"/>
        </pc:sldMkLst>
        <pc:spChg chg="add del">
          <ac:chgData name="Otavio Augusto Sabia Gava" userId="68ac195b-011b-467c-86d4-321df89323d0" providerId="ADAL" clId="{30C8E33C-321C-418E-8B3B-128591160133}" dt="2024-04-10T12:44:42.515" v="1256" actId="22"/>
          <ac:spMkLst>
            <pc:docMk/>
            <pc:sldMk cId="1097626068" sldId="3067"/>
            <ac:spMk id="3" creationId="{5F28010B-5EE2-EE7D-2F4F-F40B5EBE471F}"/>
          </ac:spMkLst>
        </pc:spChg>
      </pc:sldChg>
      <pc:sldChg chg="addSp modSp add mod">
        <pc:chgData name="Otavio Augusto Sabia Gava" userId="68ac195b-011b-467c-86d4-321df89323d0" providerId="ADAL" clId="{30C8E33C-321C-418E-8B3B-128591160133}" dt="2024-04-11T11:48:45.505" v="1865" actId="1037"/>
        <pc:sldMkLst>
          <pc:docMk/>
          <pc:sldMk cId="3171399315" sldId="3068"/>
        </pc:sldMkLst>
        <pc:spChg chg="mod">
          <ac:chgData name="Otavio Augusto Sabia Gava" userId="68ac195b-011b-467c-86d4-321df89323d0" providerId="ADAL" clId="{30C8E33C-321C-418E-8B3B-128591160133}" dt="2024-04-10T14:22:00.123" v="1627" actId="1076"/>
          <ac:spMkLst>
            <pc:docMk/>
            <pc:sldMk cId="3171399315" sldId="3068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30C8E33C-321C-418E-8B3B-128591160133}" dt="2024-04-10T14:22:33.168" v="1633" actId="1076"/>
          <ac:spMkLst>
            <pc:docMk/>
            <pc:sldMk cId="3171399315" sldId="3068"/>
            <ac:spMk id="6" creationId="{24286879-470B-9582-A321-21235EEA6865}"/>
          </ac:spMkLst>
        </pc:spChg>
        <pc:spChg chg="add mod">
          <ac:chgData name="Otavio Augusto Sabia Gava" userId="68ac195b-011b-467c-86d4-321df89323d0" providerId="ADAL" clId="{30C8E33C-321C-418E-8B3B-128591160133}" dt="2024-04-11T11:48:45.505" v="1865" actId="1037"/>
          <ac:spMkLst>
            <pc:docMk/>
            <pc:sldMk cId="3171399315" sldId="3068"/>
            <ac:spMk id="9" creationId="{9A9DDB91-23C9-E825-3757-28453B779048}"/>
          </ac:spMkLst>
        </pc:spChg>
        <pc:spChg chg="mod">
          <ac:chgData name="Otavio Augusto Sabia Gava" userId="68ac195b-011b-467c-86d4-321df89323d0" providerId="ADAL" clId="{30C8E33C-321C-418E-8B3B-128591160133}" dt="2024-04-10T14:27:02.331" v="1689" actId="1076"/>
          <ac:spMkLst>
            <pc:docMk/>
            <pc:sldMk cId="3171399315" sldId="3068"/>
            <ac:spMk id="15" creationId="{4678F140-E960-814C-E5D3-F90071D0CA60}"/>
          </ac:spMkLst>
        </pc:spChg>
        <pc:picChg chg="mod">
          <ac:chgData name="Otavio Augusto Sabia Gava" userId="68ac195b-011b-467c-86d4-321df89323d0" providerId="ADAL" clId="{30C8E33C-321C-418E-8B3B-128591160133}" dt="2024-04-10T18:28:18.362" v="1830" actId="1038"/>
          <ac:picMkLst>
            <pc:docMk/>
            <pc:sldMk cId="3171399315" sldId="3068"/>
            <ac:picMk id="3" creationId="{66C3F651-C617-E1A8-6964-8CC3DBE76088}"/>
          </ac:picMkLst>
        </pc:picChg>
        <pc:cxnChg chg="add mod">
          <ac:chgData name="Otavio Augusto Sabia Gava" userId="68ac195b-011b-467c-86d4-321df89323d0" providerId="ADAL" clId="{30C8E33C-321C-418E-8B3B-128591160133}" dt="2024-04-10T14:23:03.619" v="1643" actId="1037"/>
          <ac:cxnSpMkLst>
            <pc:docMk/>
            <pc:sldMk cId="3171399315" sldId="3068"/>
            <ac:cxnSpMk id="4" creationId="{A6331A7D-A9BC-F604-F301-8380387A13E5}"/>
          </ac:cxnSpMkLst>
        </pc:cxnChg>
        <pc:cxnChg chg="add mod">
          <ac:chgData name="Otavio Augusto Sabia Gava" userId="68ac195b-011b-467c-86d4-321df89323d0" providerId="ADAL" clId="{30C8E33C-321C-418E-8B3B-128591160133}" dt="2024-04-11T11:48:45.505" v="1865" actId="1037"/>
          <ac:cxnSpMkLst>
            <pc:docMk/>
            <pc:sldMk cId="3171399315" sldId="3068"/>
            <ac:cxnSpMk id="10" creationId="{5EEB6DE0-05D1-803D-F58C-3504620273C2}"/>
          </ac:cxnSpMkLst>
        </pc:cxnChg>
        <pc:cxnChg chg="add mod">
          <ac:chgData name="Otavio Augusto Sabia Gava" userId="68ac195b-011b-467c-86d4-321df89323d0" providerId="ADAL" clId="{30C8E33C-321C-418E-8B3B-128591160133}" dt="2024-04-10T14:24:33.436" v="1682" actId="1037"/>
          <ac:cxnSpMkLst>
            <pc:docMk/>
            <pc:sldMk cId="3171399315" sldId="3068"/>
            <ac:cxnSpMk id="11" creationId="{42378A5E-E22A-03E7-B309-A44067115186}"/>
          </ac:cxnSpMkLst>
        </pc:cxnChg>
        <pc:cxnChg chg="mod">
          <ac:chgData name="Otavio Augusto Sabia Gava" userId="68ac195b-011b-467c-86d4-321df89323d0" providerId="ADAL" clId="{30C8E33C-321C-418E-8B3B-128591160133}" dt="2024-04-10T14:24:55.305" v="1686" actId="14100"/>
          <ac:cxnSpMkLst>
            <pc:docMk/>
            <pc:sldMk cId="3171399315" sldId="3068"/>
            <ac:cxnSpMk id="19" creationId="{49A55B77-574A-E780-885E-01BC7487165B}"/>
          </ac:cxnSpMkLst>
        </pc:cxnChg>
        <pc:cxnChg chg="mod">
          <ac:chgData name="Otavio Augusto Sabia Gava" userId="68ac195b-011b-467c-86d4-321df89323d0" providerId="ADAL" clId="{30C8E33C-321C-418E-8B3B-128591160133}" dt="2024-04-10T14:24:50.001" v="1685" actId="14100"/>
          <ac:cxnSpMkLst>
            <pc:docMk/>
            <pc:sldMk cId="3171399315" sldId="3068"/>
            <ac:cxnSpMk id="20" creationId="{B286C6E1-7E8F-89E6-6905-B1C566CC0B4B}"/>
          </ac:cxnSpMkLst>
        </pc:cxnChg>
      </pc:sldChg>
      <pc:sldChg chg="addSp delSp modSp add del mod">
        <pc:chgData name="Otavio Augusto Sabia Gava" userId="68ac195b-011b-467c-86d4-321df89323d0" providerId="ADAL" clId="{30C8E33C-321C-418E-8B3B-128591160133}" dt="2024-04-10T14:38:04.350" v="1797" actId="1076"/>
        <pc:sldMkLst>
          <pc:docMk/>
          <pc:sldMk cId="3473579636" sldId="3069"/>
        </pc:sldMkLst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4" creationId="{C66ADC83-A52E-230A-7F97-7A23A62E4EFD}"/>
          </ac:spMkLst>
        </pc:spChg>
        <pc:spChg chg="mod">
          <ac:chgData name="Otavio Augusto Sabia Gava" userId="68ac195b-011b-467c-86d4-321df89323d0" providerId="ADAL" clId="{30C8E33C-321C-418E-8B3B-128591160133}" dt="2024-04-10T14:35:41.500" v="1770" actId="20577"/>
          <ac:spMkLst>
            <pc:docMk/>
            <pc:sldMk cId="3473579636" sldId="3069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30C8E33C-321C-418E-8B3B-128591160133}" dt="2024-04-10T14:37:46.515" v="1790" actId="20577"/>
          <ac:spMkLst>
            <pc:docMk/>
            <pc:sldMk cId="3473579636" sldId="3069"/>
            <ac:spMk id="6" creationId="{C2C3C771-D008-4C33-A760-03865DFCD366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7" creationId="{A3C4ED19-EEE3-5E61-5622-ECB53E176167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8" creationId="{3AD5A73D-0853-5E1A-F92E-7B0E66941E1E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9" creationId="{29AFB051-B673-6BD8-65EC-D96622D80CC8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11" creationId="{02395DA4-FF6F-AED3-5E14-2FCF5D045E5C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12" creationId="{1691E17A-872A-75EA-B20B-15B1A701F803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13" creationId="{CABBFD76-55FA-ECD3-D3B5-0A4B3C773CEE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14" creationId="{08F50EE2-A2FD-0EA8-8EB5-7792F7531227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16" creationId="{8CE29A9B-DCE4-9014-107B-06F4A34C2062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17" creationId="{EF8547BB-1523-0DE3-CA53-9D2BC2CCB8F7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20" creationId="{02550E3E-B308-6D50-892D-720048C23265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21" creationId="{3B765172-334F-7DCA-C432-889D30DA1938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22" creationId="{F872206B-BA5B-3335-4F55-9C246FA78FBC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4" creationId="{229004CE-06A0-A254-D9EF-B882090B9874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5" creationId="{5E96C8EA-E802-E53D-467C-52A26C56ADC9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6" creationId="{235E4472-7B77-C041-F248-D0D9C2DDBBBD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7" creationId="{BD584CB5-878B-164A-CCCC-1DBB2EF663F7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8" creationId="{5F80E777-FE3A-F69B-A3B1-8CBAA0770DAD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29" creationId="{67A14BED-519E-701C-510F-5B267E5254D3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0" creationId="{EF3614CD-8924-3850-4EFA-9A5B5CCAC112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1" creationId="{D4A021D5-40D9-0542-27B0-4A9DDEEEDC5A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2" creationId="{7AD9EA5D-6261-E4F7-7F17-F69C53C61B32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3" creationId="{D13F5B30-E020-F341-8414-97A5B4806D72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4" creationId="{62CD1FBF-7547-3EE4-8E24-34AE5D2FB47C}"/>
          </ac:spMkLst>
        </pc:spChg>
        <pc:spChg chg="del">
          <ac:chgData name="Otavio Augusto Sabia Gava" userId="68ac195b-011b-467c-86d4-321df89323d0" providerId="ADAL" clId="{30C8E33C-321C-418E-8B3B-128591160133}" dt="2024-04-10T14:29:34.067" v="1697" actId="478"/>
          <ac:spMkLst>
            <pc:docMk/>
            <pc:sldMk cId="3473579636" sldId="3069"/>
            <ac:spMk id="35" creationId="{063E95FC-8869-FB6C-7BCA-681DC3CE240D}"/>
          </ac:spMkLst>
        </pc:spChg>
        <pc:spChg chg="mod">
          <ac:chgData name="Otavio Augusto Sabia Gava" userId="68ac195b-011b-467c-86d4-321df89323d0" providerId="ADAL" clId="{30C8E33C-321C-418E-8B3B-128591160133}" dt="2024-04-10T14:29:36.922" v="1698"/>
          <ac:spMkLst>
            <pc:docMk/>
            <pc:sldMk cId="3473579636" sldId="3069"/>
            <ac:spMk id="36" creationId="{05A4CAB2-2E6D-5377-D09D-4111003AEA66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39" creationId="{CC181EDE-CCE0-C1F3-A113-35675B8E1054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0" creationId="{BD745A05-1C07-68FD-A09D-5C63BE9ACD62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1" creationId="{D4927320-C1E3-204D-7B9B-07B4D8E61451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2" creationId="{B6DAFCB6-C7AB-A4F8-FEDE-402FAE846EC0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4" creationId="{65262B16-BA85-3D4B-F72A-8233B19A7E90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5" creationId="{E1DFF89F-6E74-8F1E-E172-739834D3EBA8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6" creationId="{47046C04-8607-FA01-A198-1943BC3F20D2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7" creationId="{A67EE71B-8A1C-3128-0923-27A706E873EE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49" creationId="{C24D2042-70CF-E1C6-35E9-FD1C096CEE5E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0" creationId="{A4CE1766-5AD8-13B1-3F4B-B2D87BBEC7BB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1" creationId="{8A065C0D-8D61-38F3-09FD-AC07FA12A19A}"/>
          </ac:spMkLst>
        </pc:spChg>
        <pc:spChg chg="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2" creationId="{A9251BA7-89FB-FC4A-DC18-63493237F944}"/>
          </ac:spMkLst>
        </pc:spChg>
        <pc:spChg chg="add 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3" creationId="{909D350E-396D-5F6A-B387-234A6CA753E9}"/>
          </ac:spMkLst>
        </pc:spChg>
        <pc:spChg chg="add 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4" creationId="{B292FA17-51B2-FBC4-3915-7F6E0B188C23}"/>
          </ac:spMkLst>
        </pc:spChg>
        <pc:spChg chg="add 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5" creationId="{2F309F62-01DC-A17A-B3E9-B3B37C098E65}"/>
          </ac:spMkLst>
        </pc:spChg>
        <pc:spChg chg="add mod">
          <ac:chgData name="Otavio Augusto Sabia Gava" userId="68ac195b-011b-467c-86d4-321df89323d0" providerId="ADAL" clId="{30C8E33C-321C-418E-8B3B-128591160133}" dt="2024-04-10T14:29:44.336" v="1699"/>
          <ac:spMkLst>
            <pc:docMk/>
            <pc:sldMk cId="3473579636" sldId="3069"/>
            <ac:spMk id="56" creationId="{B0FE657C-1990-42F4-37C9-C7605530CD22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59" creationId="{B56FDA35-9BB5-FFDC-0A06-8C17E5573DB8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0" creationId="{9C1EF1C1-94F2-296C-B0A8-B79453111A30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1" creationId="{15BC9371-2253-8454-C73B-711AF2297DC4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2" creationId="{B87FE0F1-8A9E-6489-808A-354542A2A47F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4" creationId="{F50A9B0E-8255-0CA4-19D9-944F905F0CBD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5" creationId="{AC4C7DE2-6B99-0E74-3671-91D30C994EF5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6" creationId="{4EB23DC3-1442-51AD-A31E-C9E19F299C8F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7" creationId="{BF59D74C-DA88-C25E-AD80-F2F77C982B6C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69" creationId="{BD98EA68-C8C1-2358-0D73-90A6DE298FE6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0" creationId="{A7668CC5-9B2A-A4AC-56E2-6A314F6685CE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1" creationId="{5DC17F69-5237-CC35-6930-FB5F12D0153C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2" creationId="{B6EB946E-4A2E-7444-1F72-8C3D283D9335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5" creationId="{C79B91E8-8C09-305F-4C22-6B65A28F90FE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6" creationId="{2086C45F-A8B5-D8ED-9E60-F8CF5EE5EE7F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8" creationId="{7E4E9CAE-A195-B5AB-30D8-AFDDDBC4663E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79" creationId="{46A6EF8B-2E27-953E-D0AC-BA84954123C8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80" creationId="{8557177E-D67D-2D02-3C22-CC42635C067D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81" creationId="{D204EE1A-46C7-F641-BF2D-2F9CDCA647EA}"/>
          </ac:spMkLst>
        </pc:spChg>
        <pc:spChg chg="mod">
          <ac:chgData name="Otavio Augusto Sabia Gava" userId="68ac195b-011b-467c-86d4-321df89323d0" providerId="ADAL" clId="{30C8E33C-321C-418E-8B3B-128591160133}" dt="2024-04-10T14:29:48.877" v="1700"/>
          <ac:spMkLst>
            <pc:docMk/>
            <pc:sldMk cId="3473579636" sldId="3069"/>
            <ac:spMk id="82" creationId="{42191501-BEEA-9D41-3F0A-44C43B83215D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3" creationId="{A3DE8D48-AC25-A40D-974F-1635E438CC52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4" creationId="{B8F8212F-E4A1-2F34-1ABA-12DFC50AF58D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5" creationId="{F07131AB-7D72-014C-E5D8-0BB692DF9E39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6" creationId="{6AA5715F-6B89-3899-AADE-2276B2DBF768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7" creationId="{B7773629-A22F-9392-8F7B-7EFF126A0684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8" creationId="{A2C3AC56-D3CB-00A6-D4ED-8841001161B1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89" creationId="{2BD9782A-6A38-36B6-2ACC-5089D78B28D5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90" creationId="{DC6FC284-C6E3-96DB-BF09-0141C937BB82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91" creationId="{154E7C4C-B136-8208-9B2B-435FE84E5C42}"/>
          </ac:spMkLst>
        </pc:spChg>
        <pc:spChg chg="add del mod">
          <ac:chgData name="Otavio Augusto Sabia Gava" userId="68ac195b-011b-467c-86d4-321df89323d0" providerId="ADAL" clId="{30C8E33C-321C-418E-8B3B-128591160133}" dt="2024-04-10T14:29:50.006" v="1701" actId="21"/>
          <ac:spMkLst>
            <pc:docMk/>
            <pc:sldMk cId="3473579636" sldId="3069"/>
            <ac:spMk id="92" creationId="{AAEFE33E-6070-F521-7EA6-E9C2B9CF88B1}"/>
          </ac:spMkLst>
        </pc:spChg>
        <pc:spChg chg="mod">
          <ac:chgData name="Otavio Augusto Sabia Gava" userId="68ac195b-011b-467c-86d4-321df89323d0" providerId="ADAL" clId="{30C8E33C-321C-418E-8B3B-128591160133}" dt="2024-04-10T14:30:34.074" v="1711" actId="207"/>
          <ac:spMkLst>
            <pc:docMk/>
            <pc:sldMk cId="3473579636" sldId="3069"/>
            <ac:spMk id="95" creationId="{28A78CD5-E57C-425E-A1FB-8730C12FF6F8}"/>
          </ac:spMkLst>
        </pc:spChg>
        <pc:spChg chg="mod">
          <ac:chgData name="Otavio Augusto Sabia Gava" userId="68ac195b-011b-467c-86d4-321df89323d0" providerId="ADAL" clId="{30C8E33C-321C-418E-8B3B-128591160133}" dt="2024-04-10T14:30:09.772" v="1705" actId="207"/>
          <ac:spMkLst>
            <pc:docMk/>
            <pc:sldMk cId="3473579636" sldId="3069"/>
            <ac:spMk id="96" creationId="{1604A02D-9D91-66D6-7B4D-8D324F4C61F5}"/>
          </ac:spMkLst>
        </pc:spChg>
        <pc:spChg chg="mod">
          <ac:chgData name="Otavio Augusto Sabia Gava" userId="68ac195b-011b-467c-86d4-321df89323d0" providerId="ADAL" clId="{30C8E33C-321C-418E-8B3B-128591160133}" dt="2024-04-10T14:30:20.605" v="1707" actId="207"/>
          <ac:spMkLst>
            <pc:docMk/>
            <pc:sldMk cId="3473579636" sldId="3069"/>
            <ac:spMk id="97" creationId="{85ED1C9C-BBDF-2737-B124-85586A6B62E8}"/>
          </ac:spMkLst>
        </pc:spChg>
        <pc:spChg chg="mod">
          <ac:chgData name="Otavio Augusto Sabia Gava" userId="68ac195b-011b-467c-86d4-321df89323d0" providerId="ADAL" clId="{30C8E33C-321C-418E-8B3B-128591160133}" dt="2024-04-10T14:30:45.485" v="1712" actId="207"/>
          <ac:spMkLst>
            <pc:docMk/>
            <pc:sldMk cId="3473579636" sldId="3069"/>
            <ac:spMk id="98" creationId="{DE7D5F4D-A405-1120-48D1-7CD2EDC1F96D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0" creationId="{0D5BD086-1FE1-D53F-A95C-51C6770265EB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1" creationId="{5145A984-5B25-2803-B7FD-A2E157B56325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2" creationId="{76021563-01B2-530F-6119-7352ED75A5E9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3" creationId="{5378AFCF-AB1D-9C82-E77D-691FEC1FA543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5" creationId="{9D8B6CE3-1A88-1F1F-6634-807060FC154D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6" creationId="{C75A07C9-1844-D470-0991-A5A3009C4603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7" creationId="{D17A390E-C93C-1D96-9421-99E583DF4B49}"/>
          </ac:spMkLst>
        </pc:spChg>
        <pc:spChg chg="mod">
          <ac:chgData name="Otavio Augusto Sabia Gava" userId="68ac195b-011b-467c-86d4-321df89323d0" providerId="ADAL" clId="{30C8E33C-321C-418E-8B3B-128591160133}" dt="2024-04-10T14:29:56.987" v="1702"/>
          <ac:spMkLst>
            <pc:docMk/>
            <pc:sldMk cId="3473579636" sldId="3069"/>
            <ac:spMk id="108" creationId="{ACA00310-A08B-9A79-7797-8AE76A4B0EF7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1" creationId="{65A4C2C4-E78E-C996-E487-693B2E3FF178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2" creationId="{52A6AB78-17F5-2AE9-CA7B-16BCCAD396F6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4" creationId="{881A1B8D-36C3-5B21-405E-560998BD4B19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5" creationId="{6F07273E-2C98-216A-FDA0-84D440C30B21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6" creationId="{A7410714-2E0C-C162-0867-08AA0833D705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7" creationId="{03D0202C-D34B-E844-C114-99917A2F0AC3}"/>
          </ac:spMkLst>
        </pc:spChg>
        <pc:spChg chg="mod">
          <ac:chgData name="Otavio Augusto Sabia Gava" userId="68ac195b-011b-467c-86d4-321df89323d0" providerId="ADAL" clId="{30C8E33C-321C-418E-8B3B-128591160133}" dt="2024-04-10T14:31:04.265" v="1714" actId="208"/>
          <ac:spMkLst>
            <pc:docMk/>
            <pc:sldMk cId="3473579636" sldId="3069"/>
            <ac:spMk id="118" creationId="{075C96F6-3447-C2CB-98BA-A633AFD85AC8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19" creationId="{EE76A4B6-BE7E-00E1-9387-BE6CA206FC0B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0" creationId="{1D5271D6-36BA-E349-56D5-E92941126481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1" creationId="{06B97551-37D8-AF9D-2C44-DAF0AF0191D7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2" creationId="{245BE826-3D01-2A84-E4F1-95B8D4CA3E0C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3" creationId="{1D830F55-BC63-F380-8FA7-6EE4C0866A3B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4" creationId="{3B5C0551-E7CB-69CE-929F-CD91F4F5EF90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5" creationId="{6A7E5495-45F6-D8B2-4F19-284815E46C31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6" creationId="{23CFE694-C705-F0B4-A732-BDA0E0F466D8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7" creationId="{891A51E3-42D6-34DF-C998-5FA395F84496}"/>
          </ac:spMkLst>
        </pc:spChg>
        <pc:spChg chg="add del mod">
          <ac:chgData name="Otavio Augusto Sabia Gava" userId="68ac195b-011b-467c-86d4-321df89323d0" providerId="ADAL" clId="{30C8E33C-321C-418E-8B3B-128591160133}" dt="2024-04-10T14:32:09.283" v="1720" actId="478"/>
          <ac:spMkLst>
            <pc:docMk/>
            <pc:sldMk cId="3473579636" sldId="3069"/>
            <ac:spMk id="128" creationId="{DB3BA71D-9523-42E5-F724-3D468549B52A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1" creationId="{66475C20-A343-5F9C-F720-82B39600AF62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2" creationId="{D6229B56-EDF7-BB27-A2E9-65991397F11C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4" creationId="{B8477B5A-D133-B2B7-3DCC-4DAA826B8E94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5" creationId="{C4FECDA7-F0C2-3063-7504-399FFF34ADA3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6" creationId="{6D68B3BB-57B8-0DED-35FC-5C6B3C304EFE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7" creationId="{A415A3BA-600B-83D2-8DFE-77B000A7A09C}"/>
          </ac:spMkLst>
        </pc:spChg>
        <pc:spChg chg="mod">
          <ac:chgData name="Otavio Augusto Sabia Gava" userId="68ac195b-011b-467c-86d4-321df89323d0" providerId="ADAL" clId="{30C8E33C-321C-418E-8B3B-128591160133}" dt="2024-04-10T14:30:51.308" v="1713"/>
          <ac:spMkLst>
            <pc:docMk/>
            <pc:sldMk cId="3473579636" sldId="3069"/>
            <ac:spMk id="138" creationId="{A7716805-0E33-1788-CA71-E1BAE2BB84FD}"/>
          </ac:spMkLst>
        </pc:spChg>
        <pc:spChg chg="add mod">
          <ac:chgData name="Otavio Augusto Sabia Gava" userId="68ac195b-011b-467c-86d4-321df89323d0" providerId="ADAL" clId="{30C8E33C-321C-418E-8B3B-128591160133}" dt="2024-04-10T14:37:56.785" v="1794" actId="1076"/>
          <ac:spMkLst>
            <pc:docMk/>
            <pc:sldMk cId="3473579636" sldId="3069"/>
            <ac:spMk id="140" creationId="{2226A733-417D-731C-3C2F-D606674D0FBE}"/>
          </ac:spMkLst>
        </pc:spChg>
        <pc:grpChg chg="add mod">
          <ac:chgData name="Otavio Augusto Sabia Gava" userId="68ac195b-011b-467c-86d4-321df89323d0" providerId="ADAL" clId="{30C8E33C-321C-418E-8B3B-128591160133}" dt="2024-04-10T14:29:36.922" v="1698"/>
          <ac:grpSpMkLst>
            <pc:docMk/>
            <pc:sldMk cId="3473579636" sldId="3069"/>
            <ac:grpSpMk id="2" creationId="{09C8A1E0-445F-E1B2-48D9-67264A60099A}"/>
          </ac:grpSpMkLst>
        </pc:grpChg>
        <pc:grpChg chg="mod">
          <ac:chgData name="Otavio Augusto Sabia Gava" userId="68ac195b-011b-467c-86d4-321df89323d0" providerId="ADAL" clId="{30C8E33C-321C-418E-8B3B-128591160133}" dt="2024-04-10T14:29:36.922" v="1698"/>
          <ac:grpSpMkLst>
            <pc:docMk/>
            <pc:sldMk cId="3473579636" sldId="3069"/>
            <ac:grpSpMk id="3" creationId="{1411D293-4D8A-BBF7-C9FD-B01C7B8EC33D}"/>
          </ac:grpSpMkLst>
        </pc:grpChg>
        <pc:grpChg chg="mod">
          <ac:chgData name="Otavio Augusto Sabia Gava" userId="68ac195b-011b-467c-86d4-321df89323d0" providerId="ADAL" clId="{30C8E33C-321C-418E-8B3B-128591160133}" dt="2024-04-10T14:29:36.922" v="1698"/>
          <ac:grpSpMkLst>
            <pc:docMk/>
            <pc:sldMk cId="3473579636" sldId="3069"/>
            <ac:grpSpMk id="10" creationId="{EA792B3E-CC96-4A12-F5F7-E0DAAD7DCD3F}"/>
          </ac:grpSpMkLst>
        </pc:grpChg>
        <pc:grpChg chg="del">
          <ac:chgData name="Otavio Augusto Sabia Gava" userId="68ac195b-011b-467c-86d4-321df89323d0" providerId="ADAL" clId="{30C8E33C-321C-418E-8B3B-128591160133}" dt="2024-04-10T14:29:34.067" v="1697" actId="478"/>
          <ac:grpSpMkLst>
            <pc:docMk/>
            <pc:sldMk cId="3473579636" sldId="3069"/>
            <ac:grpSpMk id="15" creationId="{C3D5F0DC-F6DD-D35E-F9CA-CC55F67DD3FB}"/>
          </ac:grpSpMkLst>
        </pc:grpChg>
        <pc:grpChg chg="add mod">
          <ac:chgData name="Otavio Augusto Sabia Gava" userId="68ac195b-011b-467c-86d4-321df89323d0" providerId="ADAL" clId="{30C8E33C-321C-418E-8B3B-128591160133}" dt="2024-04-10T14:29:44.336" v="1699"/>
          <ac:grpSpMkLst>
            <pc:docMk/>
            <pc:sldMk cId="3473579636" sldId="3069"/>
            <ac:grpSpMk id="37" creationId="{7604FF83-428C-F16F-D0F4-66E1A40A423A}"/>
          </ac:grpSpMkLst>
        </pc:grpChg>
        <pc:grpChg chg="mod">
          <ac:chgData name="Otavio Augusto Sabia Gava" userId="68ac195b-011b-467c-86d4-321df89323d0" providerId="ADAL" clId="{30C8E33C-321C-418E-8B3B-128591160133}" dt="2024-04-10T14:29:44.336" v="1699"/>
          <ac:grpSpMkLst>
            <pc:docMk/>
            <pc:sldMk cId="3473579636" sldId="3069"/>
            <ac:grpSpMk id="38" creationId="{15EA89C3-402B-3FDA-1D59-17E9F05EDF10}"/>
          </ac:grpSpMkLst>
        </pc:grpChg>
        <pc:grpChg chg="mod">
          <ac:chgData name="Otavio Augusto Sabia Gava" userId="68ac195b-011b-467c-86d4-321df89323d0" providerId="ADAL" clId="{30C8E33C-321C-418E-8B3B-128591160133}" dt="2024-04-10T14:29:44.336" v="1699"/>
          <ac:grpSpMkLst>
            <pc:docMk/>
            <pc:sldMk cId="3473579636" sldId="3069"/>
            <ac:grpSpMk id="43" creationId="{110066C6-94CC-084A-839F-293A7E5105F9}"/>
          </ac:grpSpMkLst>
        </pc:grpChg>
        <pc:grpChg chg="add del mod">
          <ac:chgData name="Otavio Augusto Sabia Gava" userId="68ac195b-011b-467c-86d4-321df89323d0" providerId="ADAL" clId="{30C8E33C-321C-418E-8B3B-128591160133}" dt="2024-04-10T14:29:50.006" v="1701" actId="21"/>
          <ac:grpSpMkLst>
            <pc:docMk/>
            <pc:sldMk cId="3473579636" sldId="3069"/>
            <ac:grpSpMk id="57" creationId="{D728DDA0-2B28-6A2E-419C-2B52473B75A5}"/>
          </ac:grpSpMkLst>
        </pc:grpChg>
        <pc:grpChg chg="mod">
          <ac:chgData name="Otavio Augusto Sabia Gava" userId="68ac195b-011b-467c-86d4-321df89323d0" providerId="ADAL" clId="{30C8E33C-321C-418E-8B3B-128591160133}" dt="2024-04-10T14:29:48.877" v="1700"/>
          <ac:grpSpMkLst>
            <pc:docMk/>
            <pc:sldMk cId="3473579636" sldId="3069"/>
            <ac:grpSpMk id="58" creationId="{FC5CB64C-3FF4-431D-159C-E29BA85252F1}"/>
          </ac:grpSpMkLst>
        </pc:grpChg>
        <pc:grpChg chg="mod">
          <ac:chgData name="Otavio Augusto Sabia Gava" userId="68ac195b-011b-467c-86d4-321df89323d0" providerId="ADAL" clId="{30C8E33C-321C-418E-8B3B-128591160133}" dt="2024-04-10T14:29:48.877" v="1700"/>
          <ac:grpSpMkLst>
            <pc:docMk/>
            <pc:sldMk cId="3473579636" sldId="3069"/>
            <ac:grpSpMk id="63" creationId="{D1E82063-DA05-4FFC-BFAC-9D479DB304E5}"/>
          </ac:grpSpMkLst>
        </pc:grpChg>
        <pc:grpChg chg="add del mod">
          <ac:chgData name="Otavio Augusto Sabia Gava" userId="68ac195b-011b-467c-86d4-321df89323d0" providerId="ADAL" clId="{30C8E33C-321C-418E-8B3B-128591160133}" dt="2024-04-10T14:29:50.006" v="1701" actId="21"/>
          <ac:grpSpMkLst>
            <pc:docMk/>
            <pc:sldMk cId="3473579636" sldId="3069"/>
            <ac:grpSpMk id="73" creationId="{95DDD19A-0F19-6D7C-BD10-C6BC6BFE5CE2}"/>
          </ac:grpSpMkLst>
        </pc:grpChg>
        <pc:grpChg chg="mod">
          <ac:chgData name="Otavio Augusto Sabia Gava" userId="68ac195b-011b-467c-86d4-321df89323d0" providerId="ADAL" clId="{30C8E33C-321C-418E-8B3B-128591160133}" dt="2024-04-10T14:29:48.877" v="1700"/>
          <ac:grpSpMkLst>
            <pc:docMk/>
            <pc:sldMk cId="3473579636" sldId="3069"/>
            <ac:grpSpMk id="74" creationId="{188CD9B9-E14C-5142-CAD0-5C12F994BD05}"/>
          </ac:grpSpMkLst>
        </pc:grpChg>
        <pc:grpChg chg="mod">
          <ac:chgData name="Otavio Augusto Sabia Gava" userId="68ac195b-011b-467c-86d4-321df89323d0" providerId="ADAL" clId="{30C8E33C-321C-418E-8B3B-128591160133}" dt="2024-04-10T14:29:48.877" v="1700"/>
          <ac:grpSpMkLst>
            <pc:docMk/>
            <pc:sldMk cId="3473579636" sldId="3069"/>
            <ac:grpSpMk id="77" creationId="{B179DAE1-7DB1-AE52-F47A-11802E8F36E3}"/>
          </ac:grpSpMkLst>
        </pc:grpChg>
        <pc:grpChg chg="add del mod">
          <ac:chgData name="Otavio Augusto Sabia Gava" userId="68ac195b-011b-467c-86d4-321df89323d0" providerId="ADAL" clId="{30C8E33C-321C-418E-8B3B-128591160133}" dt="2024-04-10T14:32:09.283" v="1720" actId="478"/>
          <ac:grpSpMkLst>
            <pc:docMk/>
            <pc:sldMk cId="3473579636" sldId="3069"/>
            <ac:grpSpMk id="93" creationId="{FFE65F8E-7D7A-BC81-90C9-C785621EC9E0}"/>
          </ac:grpSpMkLst>
        </pc:grpChg>
        <pc:grpChg chg="mod">
          <ac:chgData name="Otavio Augusto Sabia Gava" userId="68ac195b-011b-467c-86d4-321df89323d0" providerId="ADAL" clId="{30C8E33C-321C-418E-8B3B-128591160133}" dt="2024-04-10T14:29:56.987" v="1702"/>
          <ac:grpSpMkLst>
            <pc:docMk/>
            <pc:sldMk cId="3473579636" sldId="3069"/>
            <ac:grpSpMk id="94" creationId="{4FF5C29B-8600-045C-AB45-CEC00CA6A992}"/>
          </ac:grpSpMkLst>
        </pc:grpChg>
        <pc:grpChg chg="mod">
          <ac:chgData name="Otavio Augusto Sabia Gava" userId="68ac195b-011b-467c-86d4-321df89323d0" providerId="ADAL" clId="{30C8E33C-321C-418E-8B3B-128591160133}" dt="2024-04-10T14:29:56.987" v="1702"/>
          <ac:grpSpMkLst>
            <pc:docMk/>
            <pc:sldMk cId="3473579636" sldId="3069"/>
            <ac:grpSpMk id="99" creationId="{AF51D6DE-4BA3-AB60-F75E-6F380EFA7FDC}"/>
          </ac:grpSpMkLst>
        </pc:grpChg>
        <pc:grpChg chg="add del mod">
          <ac:chgData name="Otavio Augusto Sabia Gava" userId="68ac195b-011b-467c-86d4-321df89323d0" providerId="ADAL" clId="{30C8E33C-321C-418E-8B3B-128591160133}" dt="2024-04-10T14:32:09.283" v="1720" actId="478"/>
          <ac:grpSpMkLst>
            <pc:docMk/>
            <pc:sldMk cId="3473579636" sldId="3069"/>
            <ac:grpSpMk id="109" creationId="{321228E3-B8D3-FD78-CC05-103353D34475}"/>
          </ac:grpSpMkLst>
        </pc:grpChg>
        <pc:grpChg chg="mod">
          <ac:chgData name="Otavio Augusto Sabia Gava" userId="68ac195b-011b-467c-86d4-321df89323d0" providerId="ADAL" clId="{30C8E33C-321C-418E-8B3B-128591160133}" dt="2024-04-10T14:29:56.987" v="1702"/>
          <ac:grpSpMkLst>
            <pc:docMk/>
            <pc:sldMk cId="3473579636" sldId="3069"/>
            <ac:grpSpMk id="110" creationId="{278F300E-69AA-CDF0-B477-704C8D29A8BF}"/>
          </ac:grpSpMkLst>
        </pc:grpChg>
        <pc:grpChg chg="mod">
          <ac:chgData name="Otavio Augusto Sabia Gava" userId="68ac195b-011b-467c-86d4-321df89323d0" providerId="ADAL" clId="{30C8E33C-321C-418E-8B3B-128591160133}" dt="2024-04-10T14:29:56.987" v="1702"/>
          <ac:grpSpMkLst>
            <pc:docMk/>
            <pc:sldMk cId="3473579636" sldId="3069"/>
            <ac:grpSpMk id="113" creationId="{2237FF91-BEC8-AEF4-4E7B-896141FDF1A3}"/>
          </ac:grpSpMkLst>
        </pc:grpChg>
        <pc:grpChg chg="add mod">
          <ac:chgData name="Otavio Augusto Sabia Gava" userId="68ac195b-011b-467c-86d4-321df89323d0" providerId="ADAL" clId="{30C8E33C-321C-418E-8B3B-128591160133}" dt="2024-04-10T14:30:51.308" v="1713"/>
          <ac:grpSpMkLst>
            <pc:docMk/>
            <pc:sldMk cId="3473579636" sldId="3069"/>
            <ac:grpSpMk id="129" creationId="{FDCE796B-BBE3-235B-7564-D7923E36093B}"/>
          </ac:grpSpMkLst>
        </pc:grpChg>
        <pc:grpChg chg="mod">
          <ac:chgData name="Otavio Augusto Sabia Gava" userId="68ac195b-011b-467c-86d4-321df89323d0" providerId="ADAL" clId="{30C8E33C-321C-418E-8B3B-128591160133}" dt="2024-04-10T14:30:51.308" v="1713"/>
          <ac:grpSpMkLst>
            <pc:docMk/>
            <pc:sldMk cId="3473579636" sldId="3069"/>
            <ac:grpSpMk id="130" creationId="{067C085F-E735-6E67-84D9-138AE2E25C33}"/>
          </ac:grpSpMkLst>
        </pc:grpChg>
        <pc:grpChg chg="mod">
          <ac:chgData name="Otavio Augusto Sabia Gava" userId="68ac195b-011b-467c-86d4-321df89323d0" providerId="ADAL" clId="{30C8E33C-321C-418E-8B3B-128591160133}" dt="2024-04-10T14:30:51.308" v="1713"/>
          <ac:grpSpMkLst>
            <pc:docMk/>
            <pc:sldMk cId="3473579636" sldId="3069"/>
            <ac:grpSpMk id="133" creationId="{B59C23CD-06DE-E53A-AB9F-63D3B7E563D5}"/>
          </ac:grpSpMkLst>
        </pc:grpChg>
        <pc:picChg chg="mod">
          <ac:chgData name="Otavio Augusto Sabia Gava" userId="68ac195b-011b-467c-86d4-321df89323d0" providerId="ADAL" clId="{30C8E33C-321C-418E-8B3B-128591160133}" dt="2024-04-10T14:29:36.922" v="1698"/>
          <ac:picMkLst>
            <pc:docMk/>
            <pc:sldMk cId="3473579636" sldId="3069"/>
            <ac:picMk id="19" creationId="{3801794A-8E14-7D03-4688-A9D213606A5E}"/>
          </ac:picMkLst>
        </pc:picChg>
        <pc:picChg chg="mod">
          <ac:chgData name="Otavio Augusto Sabia Gava" userId="68ac195b-011b-467c-86d4-321df89323d0" providerId="ADAL" clId="{30C8E33C-321C-418E-8B3B-128591160133}" dt="2024-04-10T14:29:44.336" v="1699"/>
          <ac:picMkLst>
            <pc:docMk/>
            <pc:sldMk cId="3473579636" sldId="3069"/>
            <ac:picMk id="48" creationId="{08B53F17-9F01-67F9-91E2-E0B91635458E}"/>
          </ac:picMkLst>
        </pc:picChg>
        <pc:picChg chg="mod">
          <ac:chgData name="Otavio Augusto Sabia Gava" userId="68ac195b-011b-467c-86d4-321df89323d0" providerId="ADAL" clId="{30C8E33C-321C-418E-8B3B-128591160133}" dt="2024-04-10T14:29:48.877" v="1700"/>
          <ac:picMkLst>
            <pc:docMk/>
            <pc:sldMk cId="3473579636" sldId="3069"/>
            <ac:picMk id="68" creationId="{871F321C-F367-63BB-DCA4-02CE515E35B4}"/>
          </ac:picMkLst>
        </pc:picChg>
        <pc:picChg chg="mod">
          <ac:chgData name="Otavio Augusto Sabia Gava" userId="68ac195b-011b-467c-86d4-321df89323d0" providerId="ADAL" clId="{30C8E33C-321C-418E-8B3B-128591160133}" dt="2024-04-10T14:29:56.987" v="1702"/>
          <ac:picMkLst>
            <pc:docMk/>
            <pc:sldMk cId="3473579636" sldId="3069"/>
            <ac:picMk id="104" creationId="{E0527725-1BBF-6256-2804-FAB750D54FCF}"/>
          </ac:picMkLst>
        </pc:picChg>
        <pc:picChg chg="add del mod">
          <ac:chgData name="Otavio Augusto Sabia Gava" userId="68ac195b-011b-467c-86d4-321df89323d0" providerId="ADAL" clId="{30C8E33C-321C-418E-8B3B-128591160133}" dt="2024-04-10T14:35:08.145" v="1755" actId="478"/>
          <ac:picMkLst>
            <pc:docMk/>
            <pc:sldMk cId="3473579636" sldId="3069"/>
            <ac:picMk id="2050" creationId="{D08356E3-2470-1C23-5BBC-3A18112DB2C0}"/>
          </ac:picMkLst>
        </pc:picChg>
        <pc:picChg chg="add mod">
          <ac:chgData name="Otavio Augusto Sabia Gava" userId="68ac195b-011b-467c-86d4-321df89323d0" providerId="ADAL" clId="{30C8E33C-321C-418E-8B3B-128591160133}" dt="2024-04-10T14:38:04.350" v="1797" actId="1076"/>
          <ac:picMkLst>
            <pc:docMk/>
            <pc:sldMk cId="3473579636" sldId="3069"/>
            <ac:picMk id="2052" creationId="{FD115749-CEF3-7B99-D0F5-D334A04977AF}"/>
          </ac:picMkLst>
        </pc:picChg>
        <pc:picChg chg="add mod">
          <ac:chgData name="Otavio Augusto Sabia Gava" userId="68ac195b-011b-467c-86d4-321df89323d0" providerId="ADAL" clId="{30C8E33C-321C-418E-8B3B-128591160133}" dt="2024-04-10T14:37:58.186" v="1795" actId="1076"/>
          <ac:picMkLst>
            <pc:docMk/>
            <pc:sldMk cId="3473579636" sldId="3069"/>
            <ac:picMk id="2054" creationId="{E3EC3990-0C3B-757D-2481-30BA68F49EE3}"/>
          </ac:picMkLst>
        </pc:picChg>
      </pc:sldChg>
      <pc:sldMasterChg chg="delSldLayout">
        <pc:chgData name="Otavio Augusto Sabia Gava" userId="68ac195b-011b-467c-86d4-321df89323d0" providerId="ADAL" clId="{30C8E33C-321C-418E-8B3B-128591160133}" dt="2024-04-10T12:20:30.062" v="1211" actId="47"/>
        <pc:sldMasterMkLst>
          <pc:docMk/>
          <pc:sldMasterMk cId="0" sldId="2147483648"/>
        </pc:sldMasterMkLst>
        <pc:sldLayoutChg chg="del">
          <pc:chgData name="Otavio Augusto Sabia Gava" userId="68ac195b-011b-467c-86d4-321df89323d0" providerId="ADAL" clId="{30C8E33C-321C-418E-8B3B-128591160133}" dt="2024-04-10T12:20:30.062" v="1211" actId="47"/>
          <pc:sldLayoutMkLst>
            <pc:docMk/>
            <pc:sldMasterMk cId="0" sldId="2147483648"/>
            <pc:sldLayoutMk cId="205236143" sldId="2147483761"/>
          </pc:sldLayoutMkLst>
        </pc:sldLayoutChg>
      </pc:sldMasterChg>
    </pc:docChg>
  </pc:docChgLst>
  <pc:docChgLst>
    <pc:chgData name="Otavio Augusto Sabia Gava" userId="68ac195b-011b-467c-86d4-321df89323d0" providerId="ADAL" clId="{0C687AD9-2800-41E2-AA69-D02ABC7EDD76}"/>
    <pc:docChg chg="undo redo custSel addSld delSld modSld sldOrd modMainMaster">
      <pc:chgData name="Otavio Augusto Sabia Gava" userId="68ac195b-011b-467c-86d4-321df89323d0" providerId="ADAL" clId="{0C687AD9-2800-41E2-AA69-D02ABC7EDD76}" dt="2024-02-23T16:51:28.449" v="30660" actId="729"/>
      <pc:docMkLst>
        <pc:docMk/>
      </pc:docMkLst>
      <pc:sldChg chg="addSp delSp modSp add mod setBg">
        <pc:chgData name="Otavio Augusto Sabia Gava" userId="68ac195b-011b-467c-86d4-321df89323d0" providerId="ADAL" clId="{0C687AD9-2800-41E2-AA69-D02ABC7EDD76}" dt="2023-11-30T14:03:55.693" v="28971"/>
        <pc:sldMkLst>
          <pc:docMk/>
          <pc:sldMk cId="2845109669" sldId="361"/>
        </pc:sldMkLst>
        <pc:spChg chg="mod">
          <ac:chgData name="Otavio Augusto Sabia Gava" userId="68ac195b-011b-467c-86d4-321df89323d0" providerId="ADAL" clId="{0C687AD9-2800-41E2-AA69-D02ABC7EDD76}" dt="2023-11-28T19:48:55.539" v="21759"/>
          <ac:spMkLst>
            <pc:docMk/>
            <pc:sldMk cId="2845109669" sldId="361"/>
            <ac:spMk id="74" creationId="{8C277DF5-EDAE-2BBB-81BC-6EB41996F333}"/>
          </ac:spMkLst>
        </pc:spChg>
        <pc:spChg chg="mod">
          <ac:chgData name="Otavio Augusto Sabia Gava" userId="68ac195b-011b-467c-86d4-321df89323d0" providerId="ADAL" clId="{0C687AD9-2800-41E2-AA69-D02ABC7EDD76}" dt="2023-11-30T14:03:55.693" v="28971"/>
          <ac:spMkLst>
            <pc:docMk/>
            <pc:sldMk cId="2845109669" sldId="361"/>
            <ac:spMk id="75" creationId="{49A65FBF-DDA2-BF6D-4B99-130840812EB6}"/>
          </ac:spMkLst>
        </pc:spChg>
        <pc:spChg chg="mod">
          <ac:chgData name="Otavio Augusto Sabia Gava" userId="68ac195b-011b-467c-86d4-321df89323d0" providerId="ADAL" clId="{0C687AD9-2800-41E2-AA69-D02ABC7EDD76}" dt="2023-11-28T17:40:18.978" v="19807" actId="207"/>
          <ac:spMkLst>
            <pc:docMk/>
            <pc:sldMk cId="2845109669" sldId="361"/>
            <ac:spMk id="76" creationId="{F5F385C2-6050-D7F7-2619-C9D69712D60F}"/>
          </ac:spMkLst>
        </pc:spChg>
        <pc:spChg chg="mod">
          <ac:chgData name="Otavio Augusto Sabia Gava" userId="68ac195b-011b-467c-86d4-321df89323d0" providerId="ADAL" clId="{0C687AD9-2800-41E2-AA69-D02ABC7EDD76}" dt="2023-11-28T17:40:18.978" v="19807" actId="207"/>
          <ac:spMkLst>
            <pc:docMk/>
            <pc:sldMk cId="2845109669" sldId="361"/>
            <ac:spMk id="77" creationId="{ED7485E4-ACBA-8091-E453-F803CE199EE6}"/>
          </ac:spMkLst>
        </pc:spChg>
        <pc:spChg chg="mod">
          <ac:chgData name="Otavio Augusto Sabia Gava" userId="68ac195b-011b-467c-86d4-321df89323d0" providerId="ADAL" clId="{0C687AD9-2800-41E2-AA69-D02ABC7EDD76}" dt="2023-11-28T17:40:18.978" v="19807" actId="207"/>
          <ac:spMkLst>
            <pc:docMk/>
            <pc:sldMk cId="2845109669" sldId="361"/>
            <ac:spMk id="78" creationId="{8307BAE1-970E-6DF2-9A24-89E2DE599F0E}"/>
          </ac:spMkLst>
        </pc:spChg>
        <pc:spChg chg="mod">
          <ac:chgData name="Otavio Augusto Sabia Gava" userId="68ac195b-011b-467c-86d4-321df89323d0" providerId="ADAL" clId="{0C687AD9-2800-41E2-AA69-D02ABC7EDD76}" dt="2023-11-29T17:46:40.848" v="28677" actId="20577"/>
          <ac:spMkLst>
            <pc:docMk/>
            <pc:sldMk cId="2845109669" sldId="361"/>
            <ac:spMk id="80" creationId="{23320BCB-A583-C35B-6F4F-191D42B10434}"/>
          </ac:spMkLst>
        </pc:spChg>
        <pc:graphicFrameChg chg="add del mod modGraphic">
          <ac:chgData name="Otavio Augusto Sabia Gava" userId="68ac195b-011b-467c-86d4-321df89323d0" providerId="ADAL" clId="{0C687AD9-2800-41E2-AA69-D02ABC7EDD76}" dt="2023-11-29T20:35:59.930" v="28916" actId="6549"/>
          <ac:graphicFrameMkLst>
            <pc:docMk/>
            <pc:sldMk cId="2845109669" sldId="361"/>
            <ac:graphicFrameMk id="79" creationId="{E657733D-1710-C132-E3B4-0C2A428E1581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8T19:42:06.466" v="21735" actId="1036"/>
          <ac:picMkLst>
            <pc:docMk/>
            <pc:sldMk cId="2845109669" sldId="361"/>
            <ac:picMk id="8" creationId="{75EC77AA-E7C6-567D-266E-5F1FA4274B57}"/>
          </ac:picMkLst>
        </pc:picChg>
        <pc:picChg chg="add del mod">
          <ac:chgData name="Otavio Augusto Sabia Gava" userId="68ac195b-011b-467c-86d4-321df89323d0" providerId="ADAL" clId="{0C687AD9-2800-41E2-AA69-D02ABC7EDD76}" dt="2023-11-28T18:57:19.799" v="20771" actId="478"/>
          <ac:picMkLst>
            <pc:docMk/>
            <pc:sldMk cId="2845109669" sldId="361"/>
            <ac:picMk id="9" creationId="{B6A18D22-9B0B-6CAD-002E-DC39F641EF4D}"/>
          </ac:picMkLst>
        </pc:picChg>
        <pc:picChg chg="add mod">
          <ac:chgData name="Otavio Augusto Sabia Gava" userId="68ac195b-011b-467c-86d4-321df89323d0" providerId="ADAL" clId="{0C687AD9-2800-41E2-AA69-D02ABC7EDD76}" dt="2023-11-29T13:34:13.455" v="22533" actId="1036"/>
          <ac:picMkLst>
            <pc:docMk/>
            <pc:sldMk cId="2845109669" sldId="361"/>
            <ac:picMk id="10" creationId="{63A25C52-F6C0-0867-3461-D1EDE24E10E2}"/>
          </ac:picMkLst>
        </pc:picChg>
        <pc:picChg chg="add mod">
          <ac:chgData name="Otavio Augusto Sabia Gava" userId="68ac195b-011b-467c-86d4-321df89323d0" providerId="ADAL" clId="{0C687AD9-2800-41E2-AA69-D02ABC7EDD76}" dt="2023-11-28T19:42:09.088" v="21742" actId="1036"/>
          <ac:picMkLst>
            <pc:docMk/>
            <pc:sldMk cId="2845109669" sldId="361"/>
            <ac:picMk id="11" creationId="{C3AEB3D7-CECE-9D09-E86C-DD1C2FDCBA41}"/>
          </ac:picMkLst>
        </pc:picChg>
        <pc:picChg chg="add del mod">
          <ac:chgData name="Otavio Augusto Sabia Gava" userId="68ac195b-011b-467c-86d4-321df89323d0" providerId="ADAL" clId="{0C687AD9-2800-41E2-AA69-D02ABC7EDD76}" dt="2023-11-28T18:57:34.472" v="20775" actId="478"/>
          <ac:picMkLst>
            <pc:docMk/>
            <pc:sldMk cId="2845109669" sldId="361"/>
            <ac:picMk id="12" creationId="{F64CE5A9-49FF-4326-25FA-F35F23428BEB}"/>
          </ac:picMkLst>
        </pc:picChg>
        <pc:picChg chg="add del mod">
          <ac:chgData name="Otavio Augusto Sabia Gava" userId="68ac195b-011b-467c-86d4-321df89323d0" providerId="ADAL" clId="{0C687AD9-2800-41E2-AA69-D02ABC7EDD76}" dt="2023-11-28T18:41:25.098" v="19956"/>
          <ac:picMkLst>
            <pc:docMk/>
            <pc:sldMk cId="2845109669" sldId="361"/>
            <ac:picMk id="13" creationId="{24F449D4-E7E4-35A9-CDFA-4B9AEA0A3FDC}"/>
          </ac:picMkLst>
        </pc:picChg>
        <pc:picChg chg="add del mod">
          <ac:chgData name="Otavio Augusto Sabia Gava" userId="68ac195b-011b-467c-86d4-321df89323d0" providerId="ADAL" clId="{0C687AD9-2800-41E2-AA69-D02ABC7EDD76}" dt="2023-11-28T18:57:22.761" v="20772" actId="478"/>
          <ac:picMkLst>
            <pc:docMk/>
            <pc:sldMk cId="2845109669" sldId="361"/>
            <ac:picMk id="14" creationId="{93A86A88-2F4E-25BE-0CD1-8F1AD29172A9}"/>
          </ac:picMkLst>
        </pc:picChg>
      </pc:sldChg>
      <pc:sldChg chg="addSp delSp modSp add mod setBg">
        <pc:chgData name="Otavio Augusto Sabia Gava" userId="68ac195b-011b-467c-86d4-321df89323d0" providerId="ADAL" clId="{0C687AD9-2800-41E2-AA69-D02ABC7EDD76}" dt="2023-11-30T14:04:20.991" v="28973"/>
        <pc:sldMkLst>
          <pc:docMk/>
          <pc:sldMk cId="1566175729" sldId="362"/>
        </pc:sldMkLst>
        <pc:spChg chg="add mod">
          <ac:chgData name="Otavio Augusto Sabia Gava" userId="68ac195b-011b-467c-86d4-321df89323d0" providerId="ADAL" clId="{0C687AD9-2800-41E2-AA69-D02ABC7EDD76}" dt="2023-11-29T17:46:51.517" v="28699" actId="20577"/>
          <ac:spMkLst>
            <pc:docMk/>
            <pc:sldMk cId="1566175729" sldId="362"/>
            <ac:spMk id="4" creationId="{54301417-8138-91E9-07DA-FBBC097FB2A6}"/>
          </ac:spMkLst>
        </pc:spChg>
        <pc:spChg chg="add mod">
          <ac:chgData name="Otavio Augusto Sabia Gava" userId="68ac195b-011b-467c-86d4-321df89323d0" providerId="ADAL" clId="{0C687AD9-2800-41E2-AA69-D02ABC7EDD76}" dt="2023-11-28T17:41:41.938" v="19820"/>
          <ac:spMkLst>
            <pc:docMk/>
            <pc:sldMk cId="1566175729" sldId="362"/>
            <ac:spMk id="5" creationId="{633D27D0-676D-5EDC-BF5B-A20C051EE96D}"/>
          </ac:spMkLst>
        </pc:spChg>
        <pc:spChg chg="add mod">
          <ac:chgData name="Otavio Augusto Sabia Gava" userId="68ac195b-011b-467c-86d4-321df89323d0" providerId="ADAL" clId="{0C687AD9-2800-41E2-AA69-D02ABC7EDD76}" dt="2023-11-28T17:41:41.938" v="19820"/>
          <ac:spMkLst>
            <pc:docMk/>
            <pc:sldMk cId="1566175729" sldId="362"/>
            <ac:spMk id="6" creationId="{50A8F4BE-02F0-614A-B6E7-7AFFC3EEC92A}"/>
          </ac:spMkLst>
        </pc:spChg>
        <pc:spChg chg="add mod">
          <ac:chgData name="Otavio Augusto Sabia Gava" userId="68ac195b-011b-467c-86d4-321df89323d0" providerId="ADAL" clId="{0C687AD9-2800-41E2-AA69-D02ABC7EDD76}" dt="2023-11-28T17:41:41.938" v="19820"/>
          <ac:spMkLst>
            <pc:docMk/>
            <pc:sldMk cId="1566175729" sldId="362"/>
            <ac:spMk id="7" creationId="{5D53C55B-F53D-7704-7F7C-072850DDA209}"/>
          </ac:spMkLst>
        </pc:spChg>
        <pc:spChg chg="del mod">
          <ac:chgData name="Otavio Augusto Sabia Gava" userId="68ac195b-011b-467c-86d4-321df89323d0" providerId="ADAL" clId="{0C687AD9-2800-41E2-AA69-D02ABC7EDD76}" dt="2023-11-28T17:41:41.530" v="19819" actId="478"/>
          <ac:spMkLst>
            <pc:docMk/>
            <pc:sldMk cId="1566175729" sldId="362"/>
            <ac:spMk id="8" creationId="{F69D8A49-8079-826A-C1E1-B7993D934FAD}"/>
          </ac:spMkLst>
        </pc:spChg>
        <pc:spChg chg="del mod">
          <ac:chgData name="Otavio Augusto Sabia Gava" userId="68ac195b-011b-467c-86d4-321df89323d0" providerId="ADAL" clId="{0C687AD9-2800-41E2-AA69-D02ABC7EDD76}" dt="2023-11-28T17:41:41.530" v="19819" actId="478"/>
          <ac:spMkLst>
            <pc:docMk/>
            <pc:sldMk cId="1566175729" sldId="362"/>
            <ac:spMk id="19" creationId="{210A9C29-3A21-CBD0-0637-75289794BC44}"/>
          </ac:spMkLst>
        </pc:spChg>
        <pc:spChg chg="del mod">
          <ac:chgData name="Otavio Augusto Sabia Gava" userId="68ac195b-011b-467c-86d4-321df89323d0" providerId="ADAL" clId="{0C687AD9-2800-41E2-AA69-D02ABC7EDD76}" dt="2023-11-28T17:41:41.530" v="19819" actId="478"/>
          <ac:spMkLst>
            <pc:docMk/>
            <pc:sldMk cId="1566175729" sldId="362"/>
            <ac:spMk id="30" creationId="{94D2ED80-7D74-9DCA-786D-9D6E8DE5F236}"/>
          </ac:spMkLst>
        </pc:spChg>
        <pc:spChg chg="mod">
          <ac:chgData name="Otavio Augusto Sabia Gava" userId="68ac195b-011b-467c-86d4-321df89323d0" providerId="ADAL" clId="{0C687AD9-2800-41E2-AA69-D02ABC7EDD76}" dt="2023-11-28T19:49:57.967" v="21763"/>
          <ac:spMkLst>
            <pc:docMk/>
            <pc:sldMk cId="1566175729" sldId="362"/>
            <ac:spMk id="41" creationId="{58FE2E10-58C5-622E-9F81-EE491C5CB20C}"/>
          </ac:spMkLst>
        </pc:spChg>
        <pc:spChg chg="mod">
          <ac:chgData name="Otavio Augusto Sabia Gava" userId="68ac195b-011b-467c-86d4-321df89323d0" providerId="ADAL" clId="{0C687AD9-2800-41E2-AA69-D02ABC7EDD76}" dt="2023-11-30T14:04:20.991" v="28973"/>
          <ac:spMkLst>
            <pc:docMk/>
            <pc:sldMk cId="1566175729" sldId="362"/>
            <ac:spMk id="43" creationId="{64FCDCF0-3196-1886-025A-C8818F06B5B1}"/>
          </ac:spMkLst>
        </pc:spChg>
        <pc:spChg chg="del">
          <ac:chgData name="Otavio Augusto Sabia Gava" userId="68ac195b-011b-467c-86d4-321df89323d0" providerId="ADAL" clId="{0C687AD9-2800-41E2-AA69-D02ABC7EDD76}" dt="2023-11-28T17:39:51.748" v="19805" actId="478"/>
          <ac:spMkLst>
            <pc:docMk/>
            <pc:sldMk cId="1566175729" sldId="362"/>
            <ac:spMk id="64" creationId="{9AE40E01-F79B-5CCA-D2BB-4E1B06A5F3C5}"/>
          </ac:spMkLst>
        </pc:spChg>
        <pc:grpChg chg="del">
          <ac:chgData name="Otavio Augusto Sabia Gava" userId="68ac195b-011b-467c-86d4-321df89323d0" providerId="ADAL" clId="{0C687AD9-2800-41E2-AA69-D02ABC7EDD76}" dt="2023-11-28T17:41:11.192" v="19814" actId="478"/>
          <ac:grpSpMkLst>
            <pc:docMk/>
            <pc:sldMk cId="1566175729" sldId="362"/>
            <ac:grpSpMk id="9" creationId="{5D1B3457-8328-FC9E-9CEE-03B246FA77D5}"/>
          </ac:grpSpMkLst>
        </pc:grpChg>
        <pc:grpChg chg="del">
          <ac:chgData name="Otavio Augusto Sabia Gava" userId="68ac195b-011b-467c-86d4-321df89323d0" providerId="ADAL" clId="{0C687AD9-2800-41E2-AA69-D02ABC7EDD76}" dt="2023-11-28T17:41:11.192" v="19814" actId="478"/>
          <ac:grpSpMkLst>
            <pc:docMk/>
            <pc:sldMk cId="1566175729" sldId="362"/>
            <ac:grpSpMk id="44" creationId="{6A4A6764-8EF7-11A8-7D24-3BDF43E3F58A}"/>
          </ac:grpSpMkLst>
        </pc:grpChg>
        <pc:graphicFrameChg chg="modGraphic">
          <ac:chgData name="Otavio Augusto Sabia Gava" userId="68ac195b-011b-467c-86d4-321df89323d0" providerId="ADAL" clId="{0C687AD9-2800-41E2-AA69-D02ABC7EDD76}" dt="2023-11-29T20:19:38.990" v="28888" actId="20577"/>
          <ac:graphicFrameMkLst>
            <pc:docMk/>
            <pc:sldMk cId="1566175729" sldId="362"/>
            <ac:graphicFrameMk id="62" creationId="{A49174F9-712C-BD58-B380-D639BCABC259}"/>
          </ac:graphicFrameMkLst>
        </pc:graphicFrameChg>
        <pc:picChg chg="add del mod">
          <ac:chgData name="Otavio Augusto Sabia Gava" userId="68ac195b-011b-467c-86d4-321df89323d0" providerId="ADAL" clId="{0C687AD9-2800-41E2-AA69-D02ABC7EDD76}" dt="2023-11-28T19:10:12.724" v="21084" actId="478"/>
          <ac:picMkLst>
            <pc:docMk/>
            <pc:sldMk cId="1566175729" sldId="362"/>
            <ac:picMk id="20" creationId="{F143D582-0A1F-0933-958A-226FCD5F54B8}"/>
          </ac:picMkLst>
        </pc:picChg>
        <pc:picChg chg="add mod">
          <ac:chgData name="Otavio Augusto Sabia Gava" userId="68ac195b-011b-467c-86d4-321df89323d0" providerId="ADAL" clId="{0C687AD9-2800-41E2-AA69-D02ABC7EDD76}" dt="2023-11-28T19:45:01.427" v="21750"/>
          <ac:picMkLst>
            <pc:docMk/>
            <pc:sldMk cId="1566175729" sldId="362"/>
            <ac:picMk id="21" creationId="{7FB68953-9091-2325-9C51-2A329920BEFF}"/>
          </ac:picMkLst>
        </pc:picChg>
        <pc:picChg chg="add mod">
          <ac:chgData name="Otavio Augusto Sabia Gava" userId="68ac195b-011b-467c-86d4-321df89323d0" providerId="ADAL" clId="{0C687AD9-2800-41E2-AA69-D02ABC7EDD76}" dt="2023-11-28T19:41:35.553" v="21704" actId="1036"/>
          <ac:picMkLst>
            <pc:docMk/>
            <pc:sldMk cId="1566175729" sldId="362"/>
            <ac:picMk id="22" creationId="{64000EAE-12AA-FC5A-D817-94013079D238}"/>
          </ac:picMkLst>
        </pc:picChg>
        <pc:picChg chg="add mod">
          <ac:chgData name="Otavio Augusto Sabia Gava" userId="68ac195b-011b-467c-86d4-321df89323d0" providerId="ADAL" clId="{0C687AD9-2800-41E2-AA69-D02ABC7EDD76}" dt="2023-11-29T17:54:47.066" v="28759"/>
          <ac:picMkLst>
            <pc:docMk/>
            <pc:sldMk cId="1566175729" sldId="362"/>
            <ac:picMk id="23" creationId="{7A2D298D-3BDB-3B32-E575-8080F6F9F896}"/>
          </ac:picMkLst>
        </pc:picChg>
        <pc:picChg chg="add mod">
          <ac:chgData name="Otavio Augusto Sabia Gava" userId="68ac195b-011b-467c-86d4-321df89323d0" providerId="ADAL" clId="{0C687AD9-2800-41E2-AA69-D02ABC7EDD76}" dt="2023-11-29T17:54:59.956" v="28760"/>
          <ac:picMkLst>
            <pc:docMk/>
            <pc:sldMk cId="1566175729" sldId="362"/>
            <ac:picMk id="24" creationId="{A3988E34-4C38-9857-876D-27574AFAB6F3}"/>
          </ac:picMkLst>
        </pc:picChg>
        <pc:picChg chg="add del mod">
          <ac:chgData name="Otavio Augusto Sabia Gava" userId="68ac195b-011b-467c-86d4-321df89323d0" providerId="ADAL" clId="{0C687AD9-2800-41E2-AA69-D02ABC7EDD76}" dt="2023-11-29T17:54:17.667" v="28756" actId="478"/>
          <ac:picMkLst>
            <pc:docMk/>
            <pc:sldMk cId="1566175729" sldId="362"/>
            <ac:picMk id="1026" creationId="{A1C111FC-A0CC-0407-6B68-39F7451BB4F5}"/>
          </ac:picMkLst>
        </pc:picChg>
      </pc:sldChg>
      <pc:sldChg chg="addSp delSp modSp add mod setBg">
        <pc:chgData name="Otavio Augusto Sabia Gava" userId="68ac195b-011b-467c-86d4-321df89323d0" providerId="ADAL" clId="{0C687AD9-2800-41E2-AA69-D02ABC7EDD76}" dt="2023-11-30T14:57:33.244" v="30068" actId="14100"/>
        <pc:sldMkLst>
          <pc:docMk/>
          <pc:sldMk cId="1330509899" sldId="363"/>
        </pc:sldMkLst>
        <pc:spChg chg="mod">
          <ac:chgData name="Otavio Augusto Sabia Gava" userId="68ac195b-011b-467c-86d4-321df89323d0" providerId="ADAL" clId="{0C687AD9-2800-41E2-AA69-D02ABC7EDD76}" dt="2023-11-28T19:50:43.262" v="21766"/>
          <ac:spMkLst>
            <pc:docMk/>
            <pc:sldMk cId="1330509899" sldId="363"/>
            <ac:spMk id="4" creationId="{7CA0C2DF-A4D5-24F9-29B7-8876FEECC426}"/>
          </ac:spMkLst>
        </pc:spChg>
        <pc:spChg chg="mod">
          <ac:chgData name="Otavio Augusto Sabia Gava" userId="68ac195b-011b-467c-86d4-321df89323d0" providerId="ADAL" clId="{0C687AD9-2800-41E2-AA69-D02ABC7EDD76}" dt="2023-11-28T19:50:28.691" v="21765"/>
          <ac:spMkLst>
            <pc:docMk/>
            <pc:sldMk cId="1330509899" sldId="363"/>
            <ac:spMk id="5" creationId="{2EADDCF9-6872-57FD-6F8F-449B376106D5}"/>
          </ac:spMkLst>
        </pc:spChg>
        <pc:spChg chg="del">
          <ac:chgData name="Otavio Augusto Sabia Gava" userId="68ac195b-011b-467c-86d4-321df89323d0" providerId="ADAL" clId="{0C687AD9-2800-41E2-AA69-D02ABC7EDD76}" dt="2023-11-28T17:41:46.716" v="19821" actId="478"/>
          <ac:spMkLst>
            <pc:docMk/>
            <pc:sldMk cId="1330509899" sldId="363"/>
            <ac:spMk id="7" creationId="{B3D36089-14BE-0EE5-F241-CB70DA316612}"/>
          </ac:spMkLst>
        </pc:spChg>
        <pc:spChg chg="add del mod">
          <ac:chgData name="Otavio Augusto Sabia Gava" userId="68ac195b-011b-467c-86d4-321df89323d0" providerId="ADAL" clId="{0C687AD9-2800-41E2-AA69-D02ABC7EDD76}" dt="2023-11-28T17:41:23.774" v="19816"/>
          <ac:spMkLst>
            <pc:docMk/>
            <pc:sldMk cId="1330509899" sldId="363"/>
            <ac:spMk id="8" creationId="{5AAA0014-3A51-F3D7-3D4A-27165B8DEC7E}"/>
          </ac:spMkLst>
        </pc:spChg>
        <pc:spChg chg="add mod">
          <ac:chgData name="Otavio Augusto Sabia Gava" userId="68ac195b-011b-467c-86d4-321df89323d0" providerId="ADAL" clId="{0C687AD9-2800-41E2-AA69-D02ABC7EDD76}" dt="2023-11-29T17:47:00.276" v="28716" actId="20577"/>
          <ac:spMkLst>
            <pc:docMk/>
            <pc:sldMk cId="1330509899" sldId="363"/>
            <ac:spMk id="9" creationId="{9920B200-4893-B28F-8D58-64DB3776FFBE}"/>
          </ac:spMkLst>
        </pc:spChg>
        <pc:spChg chg="add mod">
          <ac:chgData name="Otavio Augusto Sabia Gava" userId="68ac195b-011b-467c-86d4-321df89323d0" providerId="ADAL" clId="{0C687AD9-2800-41E2-AA69-D02ABC7EDD76}" dt="2023-11-28T17:41:47.073" v="19822"/>
          <ac:spMkLst>
            <pc:docMk/>
            <pc:sldMk cId="1330509899" sldId="363"/>
            <ac:spMk id="10" creationId="{046EF984-6480-3BDB-5162-08CEB1A6C625}"/>
          </ac:spMkLst>
        </pc:spChg>
        <pc:spChg chg="add mod">
          <ac:chgData name="Otavio Augusto Sabia Gava" userId="68ac195b-011b-467c-86d4-321df89323d0" providerId="ADAL" clId="{0C687AD9-2800-41E2-AA69-D02ABC7EDD76}" dt="2023-11-28T17:41:47.073" v="19822"/>
          <ac:spMkLst>
            <pc:docMk/>
            <pc:sldMk cId="1330509899" sldId="363"/>
            <ac:spMk id="11" creationId="{372D4E5D-F632-6A32-2841-D45AEB04CCD6}"/>
          </ac:spMkLst>
        </pc:spChg>
        <pc:spChg chg="add mod">
          <ac:chgData name="Otavio Augusto Sabia Gava" userId="68ac195b-011b-467c-86d4-321df89323d0" providerId="ADAL" clId="{0C687AD9-2800-41E2-AA69-D02ABC7EDD76}" dt="2023-11-28T17:41:47.073" v="19822"/>
          <ac:spMkLst>
            <pc:docMk/>
            <pc:sldMk cId="1330509899" sldId="363"/>
            <ac:spMk id="12" creationId="{5BA4D414-F88A-2481-40DC-2329393BB03E}"/>
          </ac:spMkLst>
        </pc:spChg>
        <pc:spChg chg="del">
          <ac:chgData name="Otavio Augusto Sabia Gava" userId="68ac195b-011b-467c-86d4-321df89323d0" providerId="ADAL" clId="{0C687AD9-2800-41E2-AA69-D02ABC7EDD76}" dt="2023-11-28T17:41:46.716" v="19821" actId="478"/>
          <ac:spMkLst>
            <pc:docMk/>
            <pc:sldMk cId="1330509899" sldId="363"/>
            <ac:spMk id="41" creationId="{5257B6D6-8A7A-10F0-E5D8-0FCFFE5B1719}"/>
          </ac:spMkLst>
        </pc:spChg>
        <pc:spChg chg="del">
          <ac:chgData name="Otavio Augusto Sabia Gava" userId="68ac195b-011b-467c-86d4-321df89323d0" providerId="ADAL" clId="{0C687AD9-2800-41E2-AA69-D02ABC7EDD76}" dt="2023-11-28T17:41:46.716" v="19821" actId="478"/>
          <ac:spMkLst>
            <pc:docMk/>
            <pc:sldMk cId="1330509899" sldId="363"/>
            <ac:spMk id="42" creationId="{8AD162A2-449A-85D1-FDD4-E796B3D31D20}"/>
          </ac:spMkLst>
        </pc:spChg>
        <pc:spChg chg="del">
          <ac:chgData name="Otavio Augusto Sabia Gava" userId="68ac195b-011b-467c-86d4-321df89323d0" providerId="ADAL" clId="{0C687AD9-2800-41E2-AA69-D02ABC7EDD76}" dt="2023-11-28T17:41:25.595" v="19817" actId="478"/>
          <ac:spMkLst>
            <pc:docMk/>
            <pc:sldMk cId="1330509899" sldId="363"/>
            <ac:spMk id="62" creationId="{1BE01020-C73A-8449-A090-23F2EAE771D7}"/>
          </ac:spMkLst>
        </pc:spChg>
        <pc:graphicFrameChg chg="mod modGraphic">
          <ac:chgData name="Otavio Augusto Sabia Gava" userId="68ac195b-011b-467c-86d4-321df89323d0" providerId="ADAL" clId="{0C687AD9-2800-41E2-AA69-D02ABC7EDD76}" dt="2023-11-29T20:26:29.193" v="28914" actId="20577"/>
          <ac:graphicFrameMkLst>
            <pc:docMk/>
            <pc:sldMk cId="1330509899" sldId="363"/>
            <ac:graphicFrameMk id="43" creationId="{AC38E1DA-8CF7-744B-8E3B-85320FC8B541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9T17:46:18.437" v="28663"/>
          <ac:picMkLst>
            <pc:docMk/>
            <pc:sldMk cId="1330509899" sldId="363"/>
            <ac:picMk id="13" creationId="{321CFF0C-656A-C54F-2F16-E39622C758A1}"/>
          </ac:picMkLst>
        </pc:picChg>
        <pc:picChg chg="add mod">
          <ac:chgData name="Otavio Augusto Sabia Gava" userId="68ac195b-011b-467c-86d4-321df89323d0" providerId="ADAL" clId="{0C687AD9-2800-41E2-AA69-D02ABC7EDD76}" dt="2023-11-30T14:57:30.668" v="30067" actId="1076"/>
          <ac:picMkLst>
            <pc:docMk/>
            <pc:sldMk cId="1330509899" sldId="363"/>
            <ac:picMk id="14" creationId="{55C0504B-CFCA-EAF7-FC04-D03F3381EF90}"/>
          </ac:picMkLst>
        </pc:picChg>
        <pc:picChg chg="add mod">
          <ac:chgData name="Otavio Augusto Sabia Gava" userId="68ac195b-011b-467c-86d4-321df89323d0" providerId="ADAL" clId="{0C687AD9-2800-41E2-AA69-D02ABC7EDD76}" dt="2023-11-28T19:27:49.876" v="21389" actId="1076"/>
          <ac:picMkLst>
            <pc:docMk/>
            <pc:sldMk cId="1330509899" sldId="363"/>
            <ac:picMk id="15" creationId="{A6F4D77C-8E26-DA17-EF52-119F98741E34}"/>
          </ac:picMkLst>
        </pc:picChg>
        <pc:picChg chg="add del mod">
          <ac:chgData name="Otavio Augusto Sabia Gava" userId="68ac195b-011b-467c-86d4-321df89323d0" providerId="ADAL" clId="{0C687AD9-2800-41E2-AA69-D02ABC7EDD76}" dt="2023-11-28T19:34:45.958" v="21534"/>
          <ac:picMkLst>
            <pc:docMk/>
            <pc:sldMk cId="1330509899" sldId="363"/>
            <ac:picMk id="16" creationId="{A6ED837D-BF1B-C8A5-4FCD-510B8880D3FF}"/>
          </ac:picMkLst>
        </pc:picChg>
        <pc:picChg chg="add mod">
          <ac:chgData name="Otavio Augusto Sabia Gava" userId="68ac195b-011b-467c-86d4-321df89323d0" providerId="ADAL" clId="{0C687AD9-2800-41E2-AA69-D02ABC7EDD76}" dt="2023-11-30T14:57:33.244" v="30068" actId="14100"/>
          <ac:picMkLst>
            <pc:docMk/>
            <pc:sldMk cId="1330509899" sldId="363"/>
            <ac:picMk id="1026" creationId="{97872A08-DB75-6681-74B7-29FA1CFD7650}"/>
          </ac:picMkLst>
        </pc:picChg>
      </pc:sldChg>
      <pc:sldChg chg="modSp del mod ord">
        <pc:chgData name="Otavio Augusto Sabia Gava" userId="68ac195b-011b-467c-86d4-321df89323d0" providerId="ADAL" clId="{0C687AD9-2800-41E2-AA69-D02ABC7EDD76}" dt="2023-11-30T14:26:16.213" v="29161" actId="47"/>
        <pc:sldMkLst>
          <pc:docMk/>
          <pc:sldMk cId="186737072" sldId="382"/>
        </pc:sldMkLst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2" creationId="{4132C251-963A-4578-A12B-CB556F17CDAD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4" creationId="{4E81D48F-6D99-493C-A976-1E9679A551EA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6" creationId="{BE5D7886-0443-4C94-BB22-AC4E3B3FAC82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8" creationId="{2736050F-31B9-4E37-8718-515E10413D1D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0" creationId="{6A5DF9E2-2E9A-41AD-8940-D01F88E3C6C4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1" creationId="{8166699C-04B6-409C-A2DE-87D9AB2AF94D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2" creationId="{80067D2E-B04F-41E8-AE16-6B9EBF7519A3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3" creationId="{37D82C45-5546-4257-9F7E-DDF23BE24247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4" creationId="{9E8E8FF6-C56C-42F7-BC3B-FD9343D51951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5" creationId="{B543305B-4D46-4D91-A78A-4F61795B716B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6" creationId="{630E4763-E782-4979-A1E7-6BBEF70C244D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7" creationId="{AB83F024-8B1F-4CBC-B839-17DFB702AC39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18" creationId="{500D19DE-5E53-404F-8E0B-55743ECA6A3E}"/>
          </ac:spMkLst>
        </pc:spChg>
        <pc:spChg chg="mod">
          <ac:chgData name="Otavio Augusto Sabia Gava" userId="68ac195b-011b-467c-86d4-321df89323d0" providerId="ADAL" clId="{0C687AD9-2800-41E2-AA69-D02ABC7EDD76}" dt="2023-11-13T12:14:48.378" v="173" actId="20577"/>
          <ac:spMkLst>
            <pc:docMk/>
            <pc:sldMk cId="186737072" sldId="382"/>
            <ac:spMk id="26" creationId="{DD5168C7-B4EF-40E2-BE6F-A93B8F90755B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0" creationId="{C58094EA-4A42-4B26-969A-3FA2D36462D9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3" creationId="{B8591797-494D-47DB-88B3-A798FB67CABF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4" creationId="{1C113A18-AA58-489E-8EB5-FB2E58901C22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5" creationId="{23E3851F-2256-42C9-AC8B-06F84EB46705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7" creationId="{F0F71D80-A962-4E14-A26C-37C9EF23AC92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38" creationId="{F796CFE0-EF16-44BF-89BC-7A2046993E71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40" creationId="{7E5FE1F6-3837-4CB8-8F17-3149D89D9819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41" creationId="{56A1BFCA-3107-4DE2-B2FB-4370CAB920EF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48" creationId="{4CCC66D6-3D57-48F1-A415-589D998AC6A1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49" creationId="{F19772B2-EDAE-4BFB-BDA5-8020019156CA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51" creationId="{193D043D-29DE-469E-9BE4-CE5DB1964356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52" creationId="{630A7D39-22E5-4E2A-A53E-6DBD5FF44F8B}"/>
          </ac:spMkLst>
        </pc:spChg>
        <pc:spChg chg="mod">
          <ac:chgData name="Otavio Augusto Sabia Gava" userId="68ac195b-011b-467c-86d4-321df89323d0" providerId="ADAL" clId="{0C687AD9-2800-41E2-AA69-D02ABC7EDD76}" dt="2023-11-30T14:06:52.314" v="28975" actId="14100"/>
          <ac:spMkLst>
            <pc:docMk/>
            <pc:sldMk cId="186737072" sldId="382"/>
            <ac:spMk id="53" creationId="{7F6505F5-F2EA-4CF9-AF97-24C19A6F242F}"/>
          </ac:spMkLst>
        </pc:spChg>
        <pc:grpChg chg="mod">
          <ac:chgData name="Otavio Augusto Sabia Gava" userId="68ac195b-011b-467c-86d4-321df89323d0" providerId="ADAL" clId="{0C687AD9-2800-41E2-AA69-D02ABC7EDD76}" dt="2023-11-30T14:06:52.314" v="28975" actId="14100"/>
          <ac:grpSpMkLst>
            <pc:docMk/>
            <pc:sldMk cId="186737072" sldId="382"/>
            <ac:grpSpMk id="5" creationId="{B76A24F9-C461-4EF4-B98B-842294AA2F0C}"/>
          </ac:grpSpMkLst>
        </pc:grpChg>
        <pc:grpChg chg="mod">
          <ac:chgData name="Otavio Augusto Sabia Gava" userId="68ac195b-011b-467c-86d4-321df89323d0" providerId="ADAL" clId="{0C687AD9-2800-41E2-AA69-D02ABC7EDD76}" dt="2023-11-30T14:06:52.314" v="28975" actId="14100"/>
          <ac:grpSpMkLst>
            <pc:docMk/>
            <pc:sldMk cId="186737072" sldId="382"/>
            <ac:grpSpMk id="7" creationId="{FE1697C8-34F7-4029-A0F7-BABCE8707C7B}"/>
          </ac:grpSpMkLst>
        </pc:grpChg>
        <pc:grpChg chg="mod">
          <ac:chgData name="Otavio Augusto Sabia Gava" userId="68ac195b-011b-467c-86d4-321df89323d0" providerId="ADAL" clId="{0C687AD9-2800-41E2-AA69-D02ABC7EDD76}" dt="2023-11-30T14:06:52.314" v="28975" actId="14100"/>
          <ac:grpSpMkLst>
            <pc:docMk/>
            <pc:sldMk cId="186737072" sldId="382"/>
            <ac:grpSpMk id="21" creationId="{1AC2F764-B799-4ABD-BD6F-7C710AAF4194}"/>
          </ac:grpSpMkLst>
        </pc:grpChg>
        <pc:grpChg chg="mod">
          <ac:chgData name="Otavio Augusto Sabia Gava" userId="68ac195b-011b-467c-86d4-321df89323d0" providerId="ADAL" clId="{0C687AD9-2800-41E2-AA69-D02ABC7EDD76}" dt="2023-11-30T14:06:52.314" v="28975" actId="14100"/>
          <ac:grpSpMkLst>
            <pc:docMk/>
            <pc:sldMk cId="186737072" sldId="382"/>
            <ac:grpSpMk id="22" creationId="{E9C65B21-077E-4F5D-9D38-CEE0E6003B9B}"/>
          </ac:grpSpMkLst>
        </pc:grpChg>
        <pc:grpChg chg="mod">
          <ac:chgData name="Otavio Augusto Sabia Gava" userId="68ac195b-011b-467c-86d4-321df89323d0" providerId="ADAL" clId="{0C687AD9-2800-41E2-AA69-D02ABC7EDD76}" dt="2023-11-30T14:06:52.314" v="28975" actId="14100"/>
          <ac:grpSpMkLst>
            <pc:docMk/>
            <pc:sldMk cId="186737072" sldId="382"/>
            <ac:grpSpMk id="23" creationId="{F9572E4F-C3E1-4754-98C1-0ED66FF516B2}"/>
          </ac:grpSpMkLst>
        </pc:grp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3" creationId="{72062F1C-23D2-A9C0-6120-054A69E5F117}"/>
          </ac:picMkLst>
        </pc:pic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47" creationId="{7E88BE16-46CA-4A62-BA4C-F12611859F16}"/>
          </ac:picMkLst>
        </pc:pic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50" creationId="{7A8A09BD-595D-481F-872E-3D8D7FE18D7E}"/>
          </ac:picMkLst>
        </pc:pic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54" creationId="{B0925377-0DCA-4941-B67C-D9AC1F850E41}"/>
          </ac:picMkLst>
        </pc:pic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3086" creationId="{F4881BBC-6BFA-46D4-88E8-28C7196A8192}"/>
          </ac:picMkLst>
        </pc:picChg>
        <pc:picChg chg="mod">
          <ac:chgData name="Otavio Augusto Sabia Gava" userId="68ac195b-011b-467c-86d4-321df89323d0" providerId="ADAL" clId="{0C687AD9-2800-41E2-AA69-D02ABC7EDD76}" dt="2023-11-30T14:06:52.314" v="28975" actId="14100"/>
          <ac:picMkLst>
            <pc:docMk/>
            <pc:sldMk cId="186737072" sldId="382"/>
            <ac:picMk id="3094" creationId="{FB952D46-7F3B-4A47-8094-42A807BF1EFD}"/>
          </ac:picMkLst>
        </pc:pic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9" creationId="{FE9EAC11-874D-4E28-9F77-DBE9DFC8B523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27" creationId="{1C87F6D0-0C78-4D00-986B-80C9B6B6C135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31" creationId="{83DEB4A3-7209-4EED-A650-A3854F1CC057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32" creationId="{047AFD57-4C05-4968-84D7-7DFCB09BB554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36" creationId="{C6C1359C-7889-4E71-8293-7AA4759CC2EE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39" creationId="{72C62A5C-ADA4-4C1F-89A8-90F90F2435C8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42" creationId="{261E8745-42A8-4DD0-939D-F9678CE33CAB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43" creationId="{DA865A98-B51D-481B-BC8E-3A705292861C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44" creationId="{DF6BE0C7-A73C-488E-9957-4A08595D9B50}"/>
          </ac:cxnSpMkLst>
        </pc:cxnChg>
        <pc:cxnChg chg="mod">
          <ac:chgData name="Otavio Augusto Sabia Gava" userId="68ac195b-011b-467c-86d4-321df89323d0" providerId="ADAL" clId="{0C687AD9-2800-41E2-AA69-D02ABC7EDD76}" dt="2023-11-30T14:06:52.314" v="28975" actId="14100"/>
          <ac:cxnSpMkLst>
            <pc:docMk/>
            <pc:sldMk cId="186737072" sldId="382"/>
            <ac:cxnSpMk id="45" creationId="{3831BEDA-9D8D-4501-9694-803458FAB0F4}"/>
          </ac:cxnSpMkLst>
        </pc:cxnChg>
      </pc:sldChg>
      <pc:sldChg chg="addSp delSp modSp del mod ord">
        <pc:chgData name="Otavio Augusto Sabia Gava" userId="68ac195b-011b-467c-86d4-321df89323d0" providerId="ADAL" clId="{0C687AD9-2800-41E2-AA69-D02ABC7EDD76}" dt="2023-12-05T18:26:33.617" v="30616" actId="47"/>
        <pc:sldMkLst>
          <pc:docMk/>
          <pc:sldMk cId="3078081030" sldId="386"/>
        </pc:sldMkLst>
        <pc:spChg chg="add mod">
          <ac:chgData name="Otavio Augusto Sabia Gava" userId="68ac195b-011b-467c-86d4-321df89323d0" providerId="ADAL" clId="{0C687AD9-2800-41E2-AA69-D02ABC7EDD76}" dt="2023-12-05T15:07:07.373" v="30282" actId="207"/>
          <ac:spMkLst>
            <pc:docMk/>
            <pc:sldMk cId="3078081030" sldId="386"/>
            <ac:spMk id="3" creationId="{51DD5C7E-92AA-8DED-9DE8-18A39DC2A238}"/>
          </ac:spMkLst>
        </pc:spChg>
        <pc:spChg chg="add mod">
          <ac:chgData name="Otavio Augusto Sabia Gava" userId="68ac195b-011b-467c-86d4-321df89323d0" providerId="ADAL" clId="{0C687AD9-2800-41E2-AA69-D02ABC7EDD76}" dt="2023-11-30T14:26:55.962" v="29178" actId="1036"/>
          <ac:spMkLst>
            <pc:docMk/>
            <pc:sldMk cId="3078081030" sldId="386"/>
            <ac:spMk id="4" creationId="{62C794F3-80E1-3BBC-DDED-347351AC504E}"/>
          </ac:spMkLst>
        </pc:spChg>
        <pc:spChg chg="add mod">
          <ac:chgData name="Otavio Augusto Sabia Gava" userId="68ac195b-011b-467c-86d4-321df89323d0" providerId="ADAL" clId="{0C687AD9-2800-41E2-AA69-D02ABC7EDD76}" dt="2023-12-05T15:07:07.373" v="30282" actId="207"/>
          <ac:spMkLst>
            <pc:docMk/>
            <pc:sldMk cId="3078081030" sldId="386"/>
            <ac:spMk id="5" creationId="{B9DB696A-3204-F61A-9740-8E0BC57F983A}"/>
          </ac:spMkLst>
        </pc:spChg>
        <pc:spChg chg="mod">
          <ac:chgData name="Otavio Augusto Sabia Gava" userId="68ac195b-011b-467c-86d4-321df89323d0" providerId="ADAL" clId="{0C687AD9-2800-41E2-AA69-D02ABC7EDD76}" dt="2023-11-30T14:52:31.219" v="30049" actId="403"/>
          <ac:spMkLst>
            <pc:docMk/>
            <pc:sldMk cId="3078081030" sldId="386"/>
            <ac:spMk id="6" creationId="{9FB94B83-0671-CC77-52BE-B2FC8E080B0E}"/>
          </ac:spMkLst>
        </pc:spChg>
        <pc:spChg chg="mod">
          <ac:chgData name="Otavio Augusto Sabia Gava" userId="68ac195b-011b-467c-86d4-321df89323d0" providerId="ADAL" clId="{0C687AD9-2800-41E2-AA69-D02ABC7EDD76}" dt="2023-11-30T14:27:36.258" v="29182" actId="1076"/>
          <ac:spMkLst>
            <pc:docMk/>
            <pc:sldMk cId="3078081030" sldId="386"/>
            <ac:spMk id="7" creationId="{59F69415-2356-AF33-5DC2-BDAC27C5CC94}"/>
          </ac:spMkLst>
        </pc:spChg>
        <pc:spChg chg="mod">
          <ac:chgData name="Otavio Augusto Sabia Gava" userId="68ac195b-011b-467c-86d4-321df89323d0" providerId="ADAL" clId="{0C687AD9-2800-41E2-AA69-D02ABC7EDD76}" dt="2023-11-30T14:13:38.052" v="29063" actId="1076"/>
          <ac:spMkLst>
            <pc:docMk/>
            <pc:sldMk cId="3078081030" sldId="386"/>
            <ac:spMk id="9" creationId="{B235A7A0-5F09-9C95-F836-30996DBAF450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10" creationId="{6065BB9C-FCCA-5628-AA2A-EACB91EAC704}"/>
          </ac:spMkLst>
        </pc:spChg>
        <pc:spChg chg="mod">
          <ac:chgData name="Otavio Augusto Sabia Gava" userId="68ac195b-011b-467c-86d4-321df89323d0" providerId="ADAL" clId="{0C687AD9-2800-41E2-AA69-D02ABC7EDD76}" dt="2023-11-30T14:26:12.770" v="29160" actId="1035"/>
          <ac:spMkLst>
            <pc:docMk/>
            <pc:sldMk cId="3078081030" sldId="386"/>
            <ac:spMk id="11" creationId="{C887F2F5-DD73-743C-BDC5-4277BE502551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12" creationId="{11263B21-7506-42DA-2FEF-05C054F257F2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18" creationId="{0371E935-9C11-44CE-82B7-CFC7F2757BE7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19" creationId="{C328EE94-A2E5-7841-C54E-0E39C8B4B8F9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23" creationId="{0A815C92-8245-9659-F4E6-A54842432922}"/>
          </ac:spMkLst>
        </pc:spChg>
        <pc:spChg chg="mod">
          <ac:chgData name="Otavio Augusto Sabia Gava" userId="68ac195b-011b-467c-86d4-321df89323d0" providerId="ADAL" clId="{0C687AD9-2800-41E2-AA69-D02ABC7EDD76}" dt="2023-11-30T17:35:54.773" v="30083" actId="20577"/>
          <ac:spMkLst>
            <pc:docMk/>
            <pc:sldMk cId="3078081030" sldId="386"/>
            <ac:spMk id="24" creationId="{2AA5F9C6-7996-4FFF-89B0-7E0AC5442A9C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25" creationId="{F94393C3-1BBD-9633-B50A-0FDB9E1F0258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29" creationId="{C21C1723-76A1-DE38-2240-CCE383482C41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30" creationId="{3D1E172B-9C12-D54F-48DA-433D6213D36C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36" creationId="{A6C71369-77C7-48EA-DB1E-F1E2D3C27D55}"/>
          </ac:spMkLst>
        </pc:spChg>
        <pc:spChg chg="mod">
          <ac:chgData name="Otavio Augusto Sabia Gava" userId="68ac195b-011b-467c-86d4-321df89323d0" providerId="ADAL" clId="{0C687AD9-2800-41E2-AA69-D02ABC7EDD76}" dt="2023-11-30T14:26:47.806" v="29167" actId="1076"/>
          <ac:spMkLst>
            <pc:docMk/>
            <pc:sldMk cId="3078081030" sldId="386"/>
            <ac:spMk id="37" creationId="{E13C8CD4-C3F8-C2F5-74F6-878945BDB4FD}"/>
          </ac:spMkLst>
        </pc:spChg>
        <pc:spChg chg="add mod">
          <ac:chgData name="Otavio Augusto Sabia Gava" userId="68ac195b-011b-467c-86d4-321df89323d0" providerId="ADAL" clId="{0C687AD9-2800-41E2-AA69-D02ABC7EDD76}" dt="2023-11-30T14:51:42.052" v="30041" actId="20577"/>
          <ac:spMkLst>
            <pc:docMk/>
            <pc:sldMk cId="3078081030" sldId="386"/>
            <ac:spMk id="49" creationId="{CBF05EC7-675A-BDE6-A827-7BC0F033AC89}"/>
          </ac:spMkLst>
        </pc:spChg>
        <pc:grpChg chg="add mod">
          <ac:chgData name="Otavio Augusto Sabia Gava" userId="68ac195b-011b-467c-86d4-321df89323d0" providerId="ADAL" clId="{0C687AD9-2800-41E2-AA69-D02ABC7EDD76}" dt="2023-11-30T14:26:47.806" v="29167" actId="1076"/>
          <ac:grpSpMkLst>
            <pc:docMk/>
            <pc:sldMk cId="3078081030" sldId="386"/>
            <ac:grpSpMk id="8" creationId="{4EE15633-B6A6-9331-4533-D0D220EE914D}"/>
          </ac:grpSpMkLst>
        </pc:grpChg>
        <pc:grpChg chg="add mod">
          <ac:chgData name="Otavio Augusto Sabia Gava" userId="68ac195b-011b-467c-86d4-321df89323d0" providerId="ADAL" clId="{0C687AD9-2800-41E2-AA69-D02ABC7EDD76}" dt="2023-11-30T14:26:47.806" v="29167" actId="1076"/>
          <ac:grpSpMkLst>
            <pc:docMk/>
            <pc:sldMk cId="3078081030" sldId="386"/>
            <ac:grpSpMk id="17" creationId="{47F34BCF-724F-440F-DF1D-9C2E16CD5616}"/>
          </ac:grpSpMkLst>
        </pc:grpChg>
        <pc:grpChg chg="add mod">
          <ac:chgData name="Otavio Augusto Sabia Gava" userId="68ac195b-011b-467c-86d4-321df89323d0" providerId="ADAL" clId="{0C687AD9-2800-41E2-AA69-D02ABC7EDD76}" dt="2023-11-30T14:26:47.806" v="29167" actId="1076"/>
          <ac:grpSpMkLst>
            <pc:docMk/>
            <pc:sldMk cId="3078081030" sldId="386"/>
            <ac:grpSpMk id="22" creationId="{BACD06A9-A9C9-3D75-21B2-C72673AAB30B}"/>
          </ac:grpSpMkLst>
        </pc:grpChg>
        <pc:grpChg chg="add mod">
          <ac:chgData name="Otavio Augusto Sabia Gava" userId="68ac195b-011b-467c-86d4-321df89323d0" providerId="ADAL" clId="{0C687AD9-2800-41E2-AA69-D02ABC7EDD76}" dt="2023-11-30T14:26:47.806" v="29167" actId="1076"/>
          <ac:grpSpMkLst>
            <pc:docMk/>
            <pc:sldMk cId="3078081030" sldId="386"/>
            <ac:grpSpMk id="28" creationId="{01947C81-6B49-AC46-F777-5824492C0FC0}"/>
          </ac:grpSpMkLst>
        </pc:grpChg>
        <pc:grpChg chg="add mod">
          <ac:chgData name="Otavio Augusto Sabia Gava" userId="68ac195b-011b-467c-86d4-321df89323d0" providerId="ADAL" clId="{0C687AD9-2800-41E2-AA69-D02ABC7EDD76}" dt="2023-11-30T14:26:47.806" v="29167" actId="1076"/>
          <ac:grpSpMkLst>
            <pc:docMk/>
            <pc:sldMk cId="3078081030" sldId="386"/>
            <ac:grpSpMk id="35" creationId="{FE86F049-D5CB-9CA5-78F2-5ACACD3B9397}"/>
          </ac:grpSpMkLst>
        </pc:grpChg>
        <pc:picChg chg="add mod">
          <ac:chgData name="Otavio Augusto Sabia Gava" userId="68ac195b-011b-467c-86d4-321df89323d0" providerId="ADAL" clId="{0C687AD9-2800-41E2-AA69-D02ABC7EDD76}" dt="2023-12-05T15:05:52.965" v="30276" actId="1076"/>
          <ac:picMkLst>
            <pc:docMk/>
            <pc:sldMk cId="3078081030" sldId="386"/>
            <ac:picMk id="2" creationId="{51B4EF29-F591-CBB6-397B-2699CC9E5BE5}"/>
          </ac:picMkLst>
        </pc:picChg>
        <pc:picChg chg="add del mod">
          <ac:chgData name="Otavio Augusto Sabia Gava" userId="68ac195b-011b-467c-86d4-321df89323d0" providerId="ADAL" clId="{0C687AD9-2800-41E2-AA69-D02ABC7EDD76}" dt="2023-11-30T14:16:24.323" v="29088" actId="478"/>
          <ac:picMkLst>
            <pc:docMk/>
            <pc:sldMk cId="3078081030" sldId="386"/>
            <ac:picMk id="3" creationId="{856AE546-FBB6-6980-C862-53B32BF2937B}"/>
          </ac:picMkLst>
        </pc:picChg>
        <pc:picChg chg="del mod">
          <ac:chgData name="Otavio Augusto Sabia Gava" userId="68ac195b-011b-467c-86d4-321df89323d0" providerId="ADAL" clId="{0C687AD9-2800-41E2-AA69-D02ABC7EDD76}" dt="2023-11-30T14:15:57.714" v="29080" actId="478"/>
          <ac:picMkLst>
            <pc:docMk/>
            <pc:sldMk cId="3078081030" sldId="386"/>
            <ac:picMk id="5" creationId="{4B6CE8AA-63E8-F3D6-573F-2D6194B0AE1C}"/>
          </ac:picMkLst>
        </pc:picChg>
        <pc:picChg chg="mod">
          <ac:chgData name="Otavio Augusto Sabia Gava" userId="68ac195b-011b-467c-86d4-321df89323d0" providerId="ADAL" clId="{0C687AD9-2800-41E2-AA69-D02ABC7EDD76}" dt="2023-11-30T14:50:07.667" v="29993" actId="14100"/>
          <ac:picMkLst>
            <pc:docMk/>
            <pc:sldMk cId="3078081030" sldId="386"/>
            <ac:picMk id="13" creationId="{61C38192-BB08-641A-0E3F-F03084D22EFB}"/>
          </ac:picMkLst>
        </pc:picChg>
        <pc:picChg chg="add del mod">
          <ac:chgData name="Otavio Augusto Sabia Gava" userId="68ac195b-011b-467c-86d4-321df89323d0" providerId="ADAL" clId="{0C687AD9-2800-41E2-AA69-D02ABC7EDD76}" dt="2023-12-05T15:07:32.212" v="30284" actId="14100"/>
          <ac:picMkLst>
            <pc:docMk/>
            <pc:sldMk cId="3078081030" sldId="386"/>
            <ac:picMk id="15" creationId="{57F694C2-E3C4-14DE-ABE3-1970F6587F67}"/>
          </ac:picMkLst>
        </pc:picChg>
        <pc:picChg chg="mod">
          <ac:chgData name="Otavio Augusto Sabia Gava" userId="68ac195b-011b-467c-86d4-321df89323d0" providerId="ADAL" clId="{0C687AD9-2800-41E2-AA69-D02ABC7EDD76}" dt="2023-11-30T14:26:47.806" v="29167" actId="1076"/>
          <ac:picMkLst>
            <pc:docMk/>
            <pc:sldMk cId="3078081030" sldId="386"/>
            <ac:picMk id="16" creationId="{6446DFFD-59C3-AD5A-BA69-0C25A1E8CA73}"/>
          </ac:picMkLst>
        </pc:picChg>
        <pc:picChg chg="mod">
          <ac:chgData name="Otavio Augusto Sabia Gava" userId="68ac195b-011b-467c-86d4-321df89323d0" providerId="ADAL" clId="{0C687AD9-2800-41E2-AA69-D02ABC7EDD76}" dt="2023-11-30T14:26:47.806" v="29167" actId="1076"/>
          <ac:picMkLst>
            <pc:docMk/>
            <pc:sldMk cId="3078081030" sldId="386"/>
            <ac:picMk id="21" creationId="{BD0CF82C-CDA7-A932-89E2-C07F876FE50D}"/>
          </ac:picMkLst>
        </pc:picChg>
        <pc:picChg chg="mod">
          <ac:chgData name="Otavio Augusto Sabia Gava" userId="68ac195b-011b-467c-86d4-321df89323d0" providerId="ADAL" clId="{0C687AD9-2800-41E2-AA69-D02ABC7EDD76}" dt="2023-11-30T14:26:47.806" v="29167" actId="1076"/>
          <ac:picMkLst>
            <pc:docMk/>
            <pc:sldMk cId="3078081030" sldId="386"/>
            <ac:picMk id="27" creationId="{1852E001-84E2-BF45-2FD6-482D59E14FDF}"/>
          </ac:picMkLst>
        </pc:picChg>
        <pc:picChg chg="mod">
          <ac:chgData name="Otavio Augusto Sabia Gava" userId="68ac195b-011b-467c-86d4-321df89323d0" providerId="ADAL" clId="{0C687AD9-2800-41E2-AA69-D02ABC7EDD76}" dt="2023-11-30T14:47:51.294" v="29948" actId="1037"/>
          <ac:picMkLst>
            <pc:docMk/>
            <pc:sldMk cId="3078081030" sldId="386"/>
            <ac:picMk id="31" creationId="{32CEADE7-0B47-4DC2-9738-EDB6364620FF}"/>
          </ac:picMkLst>
        </pc:picChg>
        <pc:picChg chg="mod">
          <ac:chgData name="Otavio Augusto Sabia Gava" userId="68ac195b-011b-467c-86d4-321df89323d0" providerId="ADAL" clId="{0C687AD9-2800-41E2-AA69-D02ABC7EDD76}" dt="2023-11-30T14:47:51.294" v="29948" actId="1037"/>
          <ac:picMkLst>
            <pc:docMk/>
            <pc:sldMk cId="3078081030" sldId="386"/>
            <ac:picMk id="33" creationId="{EF9B2299-3B7E-458A-AE6D-9A11C9B86F8C}"/>
          </ac:picMkLst>
        </pc:picChg>
        <pc:picChg chg="del mod">
          <ac:chgData name="Otavio Augusto Sabia Gava" userId="68ac195b-011b-467c-86d4-321df89323d0" providerId="ADAL" clId="{0C687AD9-2800-41E2-AA69-D02ABC7EDD76}" dt="2023-11-30T14:19:25.182" v="29116" actId="478"/>
          <ac:picMkLst>
            <pc:docMk/>
            <pc:sldMk cId="3078081030" sldId="386"/>
            <ac:picMk id="34" creationId="{03B7FAE1-646E-9E80-AC9F-0937D1AC8668}"/>
          </ac:picMkLst>
        </pc:picChg>
        <pc:picChg chg="del mod">
          <ac:chgData name="Otavio Augusto Sabia Gava" userId="68ac195b-011b-467c-86d4-321df89323d0" providerId="ADAL" clId="{0C687AD9-2800-41E2-AA69-D02ABC7EDD76}" dt="2023-11-30T14:19:05.581" v="29114" actId="478"/>
          <ac:picMkLst>
            <pc:docMk/>
            <pc:sldMk cId="3078081030" sldId="386"/>
            <ac:picMk id="39" creationId="{2DA91FCF-3FF4-9054-F3EF-A4DF4C3DCAA8}"/>
          </ac:picMkLst>
        </pc:picChg>
        <pc:picChg chg="add del mod">
          <ac:chgData name="Otavio Augusto Sabia Gava" userId="68ac195b-011b-467c-86d4-321df89323d0" providerId="ADAL" clId="{0C687AD9-2800-41E2-AA69-D02ABC7EDD76}" dt="2023-11-30T14:26:25.932" v="29162" actId="478"/>
          <ac:picMkLst>
            <pc:docMk/>
            <pc:sldMk cId="3078081030" sldId="386"/>
            <ac:picMk id="40" creationId="{42F53923-BE9D-9A32-4CE6-C91BC8D5F5A1}"/>
          </ac:picMkLst>
        </pc:picChg>
        <pc:picChg chg="add mod">
          <ac:chgData name="Otavio Augusto Sabia Gava" userId="68ac195b-011b-467c-86d4-321df89323d0" providerId="ADAL" clId="{0C687AD9-2800-41E2-AA69-D02ABC7EDD76}" dt="2023-11-30T14:16:13.279" v="29085" actId="1076"/>
          <ac:picMkLst>
            <pc:docMk/>
            <pc:sldMk cId="3078081030" sldId="386"/>
            <ac:picMk id="42" creationId="{77D9249F-1319-0402-AE6C-8EA9D3760A67}"/>
          </ac:picMkLst>
        </pc:picChg>
        <pc:picChg chg="add mod">
          <ac:chgData name="Otavio Augusto Sabia Gava" userId="68ac195b-011b-467c-86d4-321df89323d0" providerId="ADAL" clId="{0C687AD9-2800-41E2-AA69-D02ABC7EDD76}" dt="2023-11-30T14:26:12.770" v="29160" actId="1035"/>
          <ac:picMkLst>
            <pc:docMk/>
            <pc:sldMk cId="3078081030" sldId="386"/>
            <ac:picMk id="44" creationId="{3AB66A75-FC67-BFD3-BFE1-E5DC1A03363F}"/>
          </ac:picMkLst>
        </pc:picChg>
        <pc:picChg chg="add mod">
          <ac:chgData name="Otavio Augusto Sabia Gava" userId="68ac195b-011b-467c-86d4-321df89323d0" providerId="ADAL" clId="{0C687AD9-2800-41E2-AA69-D02ABC7EDD76}" dt="2023-11-30T14:26:47.806" v="29167" actId="1076"/>
          <ac:picMkLst>
            <pc:docMk/>
            <pc:sldMk cId="3078081030" sldId="386"/>
            <ac:picMk id="46" creationId="{047A9435-9360-A8A0-2BA7-17D5E915D84E}"/>
          </ac:picMkLst>
        </pc:picChg>
        <pc:picChg chg="add mod">
          <ac:chgData name="Otavio Augusto Sabia Gava" userId="68ac195b-011b-467c-86d4-321df89323d0" providerId="ADAL" clId="{0C687AD9-2800-41E2-AA69-D02ABC7EDD76}" dt="2023-11-30T14:26:47.806" v="29167" actId="1076"/>
          <ac:picMkLst>
            <pc:docMk/>
            <pc:sldMk cId="3078081030" sldId="386"/>
            <ac:picMk id="48" creationId="{97C4B667-C40F-0E30-E01C-9BC838FD0FC8}"/>
          </ac:picMkLst>
        </pc:picChg>
        <pc:cxnChg chg="mod">
          <ac:chgData name="Otavio Augusto Sabia Gava" userId="68ac195b-011b-467c-86d4-321df89323d0" providerId="ADAL" clId="{0C687AD9-2800-41E2-AA69-D02ABC7EDD76}" dt="2023-11-30T14:26:47.806" v="29167" actId="1076"/>
          <ac:cxnSpMkLst>
            <pc:docMk/>
            <pc:sldMk cId="3078081030" sldId="386"/>
            <ac:cxnSpMk id="14" creationId="{EA52BC19-E397-309C-A8F9-C57D62B65F58}"/>
          </ac:cxnSpMkLst>
        </pc:cxnChg>
        <pc:cxnChg chg="mod">
          <ac:chgData name="Otavio Augusto Sabia Gava" userId="68ac195b-011b-467c-86d4-321df89323d0" providerId="ADAL" clId="{0C687AD9-2800-41E2-AA69-D02ABC7EDD76}" dt="2023-11-30T14:26:47.806" v="29167" actId="1076"/>
          <ac:cxnSpMkLst>
            <pc:docMk/>
            <pc:sldMk cId="3078081030" sldId="386"/>
            <ac:cxnSpMk id="20" creationId="{08448770-6FA7-B5BC-6D85-D750A9D00359}"/>
          </ac:cxnSpMkLst>
        </pc:cxnChg>
        <pc:cxnChg chg="mod">
          <ac:chgData name="Otavio Augusto Sabia Gava" userId="68ac195b-011b-467c-86d4-321df89323d0" providerId="ADAL" clId="{0C687AD9-2800-41E2-AA69-D02ABC7EDD76}" dt="2023-11-30T14:26:47.806" v="29167" actId="1076"/>
          <ac:cxnSpMkLst>
            <pc:docMk/>
            <pc:sldMk cId="3078081030" sldId="386"/>
            <ac:cxnSpMk id="26" creationId="{1701B960-8FBC-E55C-1F2A-07CE705E74CD}"/>
          </ac:cxnSpMkLst>
        </pc:cxnChg>
        <pc:cxnChg chg="mod">
          <ac:chgData name="Otavio Augusto Sabia Gava" userId="68ac195b-011b-467c-86d4-321df89323d0" providerId="ADAL" clId="{0C687AD9-2800-41E2-AA69-D02ABC7EDD76}" dt="2023-11-30T14:26:47.806" v="29167" actId="1076"/>
          <ac:cxnSpMkLst>
            <pc:docMk/>
            <pc:sldMk cId="3078081030" sldId="386"/>
            <ac:cxnSpMk id="32" creationId="{2FE121AC-79B2-951F-5C1F-890BEF509768}"/>
          </ac:cxnSpMkLst>
        </pc:cxnChg>
        <pc:cxnChg chg="mod">
          <ac:chgData name="Otavio Augusto Sabia Gava" userId="68ac195b-011b-467c-86d4-321df89323d0" providerId="ADAL" clId="{0C687AD9-2800-41E2-AA69-D02ABC7EDD76}" dt="2023-11-30T14:26:47.806" v="29167" actId="1076"/>
          <ac:cxnSpMkLst>
            <pc:docMk/>
            <pc:sldMk cId="3078081030" sldId="386"/>
            <ac:cxnSpMk id="38" creationId="{BDAB65BC-0AEB-C2E7-9CC6-FBC95C992C93}"/>
          </ac:cxnSpMkLst>
        </pc:cxnChg>
      </pc:sldChg>
      <pc:sldChg chg="delSp modSp del mod">
        <pc:chgData name="Otavio Augusto Sabia Gava" userId="68ac195b-011b-467c-86d4-321df89323d0" providerId="ADAL" clId="{0C687AD9-2800-41E2-AA69-D02ABC7EDD76}" dt="2023-12-04T19:19:56.067" v="30269" actId="47"/>
        <pc:sldMkLst>
          <pc:docMk/>
          <pc:sldMk cId="1079443549" sldId="387"/>
        </pc:sldMkLst>
        <pc:spChg chg="mod">
          <ac:chgData name="Otavio Augusto Sabia Gava" userId="68ac195b-011b-467c-86d4-321df89323d0" providerId="ADAL" clId="{0C687AD9-2800-41E2-AA69-D02ABC7EDD76}" dt="2023-11-13T17:05:28.908" v="659" actId="113"/>
          <ac:spMkLst>
            <pc:docMk/>
            <pc:sldMk cId="1079443549" sldId="387"/>
            <ac:spMk id="3" creationId="{B534CEC3-2765-35CF-134D-96CBDD7B3155}"/>
          </ac:spMkLst>
        </pc:spChg>
        <pc:spChg chg="mod">
          <ac:chgData name="Otavio Augusto Sabia Gava" userId="68ac195b-011b-467c-86d4-321df89323d0" providerId="ADAL" clId="{0C687AD9-2800-41E2-AA69-D02ABC7EDD76}" dt="2023-11-13T19:44:16.280" v="1074" actId="1037"/>
          <ac:spMkLst>
            <pc:docMk/>
            <pc:sldMk cId="1079443549" sldId="387"/>
            <ac:spMk id="6" creationId="{1285657A-5478-B053-D342-8C9D828AF4E9}"/>
          </ac:spMkLst>
        </pc:spChg>
        <pc:picChg chg="del">
          <ac:chgData name="Otavio Augusto Sabia Gava" userId="68ac195b-011b-467c-86d4-321df89323d0" providerId="ADAL" clId="{0C687AD9-2800-41E2-AA69-D02ABC7EDD76}" dt="2023-11-13T20:58:38.732" v="1494" actId="478"/>
          <ac:picMkLst>
            <pc:docMk/>
            <pc:sldMk cId="1079443549" sldId="387"/>
            <ac:picMk id="2" creationId="{95266B69-1AE8-9268-923B-33FB5B570A1D}"/>
          </ac:picMkLst>
        </pc:picChg>
        <pc:picChg chg="mod">
          <ac:chgData name="Otavio Augusto Sabia Gava" userId="68ac195b-011b-467c-86d4-321df89323d0" providerId="ADAL" clId="{0C687AD9-2800-41E2-AA69-D02ABC7EDD76}" dt="2023-11-21T18:36:50.665" v="16960"/>
          <ac:picMkLst>
            <pc:docMk/>
            <pc:sldMk cId="1079443549" sldId="387"/>
            <ac:picMk id="33" creationId="{81CAFE99-4BF3-43EA-9C82-06D26C196049}"/>
          </ac:picMkLst>
        </pc:picChg>
        <pc:picChg chg="mod">
          <ac:chgData name="Otavio Augusto Sabia Gava" userId="68ac195b-011b-467c-86d4-321df89323d0" providerId="ADAL" clId="{0C687AD9-2800-41E2-AA69-D02ABC7EDD76}" dt="2023-11-20T13:16:47.595" v="4122"/>
          <ac:picMkLst>
            <pc:docMk/>
            <pc:sldMk cId="1079443549" sldId="387"/>
            <ac:picMk id="34" creationId="{DD1231DF-43D9-4EFD-8B67-FB5BA0B44D8C}"/>
          </ac:picMkLst>
        </pc:picChg>
        <pc:picChg chg="del">
          <ac:chgData name="Otavio Augusto Sabia Gava" userId="68ac195b-011b-467c-86d4-321df89323d0" providerId="ADAL" clId="{0C687AD9-2800-41E2-AA69-D02ABC7EDD76}" dt="2023-11-20T13:23:29.710" v="4160" actId="478"/>
          <ac:picMkLst>
            <pc:docMk/>
            <pc:sldMk cId="1079443549" sldId="387"/>
            <ac:picMk id="35" creationId="{0DD31FE9-1ED6-4A8D-8877-AEB1A624D664}"/>
          </ac:picMkLst>
        </pc:picChg>
      </pc:sldChg>
      <pc:sldChg chg="addSp delSp modSp del mod">
        <pc:chgData name="Otavio Augusto Sabia Gava" userId="68ac195b-011b-467c-86d4-321df89323d0" providerId="ADAL" clId="{0C687AD9-2800-41E2-AA69-D02ABC7EDD76}" dt="2023-11-13T15:14:05.258" v="609" actId="47"/>
        <pc:sldMkLst>
          <pc:docMk/>
          <pc:sldMk cId="2223204241" sldId="793"/>
        </pc:sldMkLst>
        <pc:spChg chg="mod">
          <ac:chgData name="Otavio Augusto Sabia Gava" userId="68ac195b-011b-467c-86d4-321df89323d0" providerId="ADAL" clId="{0C687AD9-2800-41E2-AA69-D02ABC7EDD76}" dt="2023-11-13T14:51:54.252" v="564" actId="207"/>
          <ac:spMkLst>
            <pc:docMk/>
            <pc:sldMk cId="2223204241" sldId="793"/>
            <ac:spMk id="2" creationId="{830B89CD-0CE8-4A8F-919B-939BB70D46FC}"/>
          </ac:spMkLst>
        </pc:spChg>
        <pc:spChg chg="add del">
          <ac:chgData name="Otavio Augusto Sabia Gava" userId="68ac195b-011b-467c-86d4-321df89323d0" providerId="ADAL" clId="{0C687AD9-2800-41E2-AA69-D02ABC7EDD76}" dt="2023-11-13T15:11:47.539" v="597" actId="22"/>
          <ac:spMkLst>
            <pc:docMk/>
            <pc:sldMk cId="2223204241" sldId="793"/>
            <ac:spMk id="6" creationId="{D6F80DB7-9E2D-EE19-C700-9897D64A1277}"/>
          </ac:spMkLst>
        </pc:spChg>
      </pc:sldChg>
      <pc:sldChg chg="delSp modSp add del mod">
        <pc:chgData name="Otavio Augusto Sabia Gava" userId="68ac195b-011b-467c-86d4-321df89323d0" providerId="ADAL" clId="{0C687AD9-2800-41E2-AA69-D02ABC7EDD76}" dt="2023-11-17T12:07:31.558" v="2403" actId="47"/>
        <pc:sldMkLst>
          <pc:docMk/>
          <pc:sldMk cId="2537109607" sldId="831"/>
        </pc:sldMkLst>
        <pc:spChg chg="mod">
          <ac:chgData name="Otavio Augusto Sabia Gava" userId="68ac195b-011b-467c-86d4-321df89323d0" providerId="ADAL" clId="{0C687AD9-2800-41E2-AA69-D02ABC7EDD76}" dt="2023-11-13T19:18:27.604" v="810" actId="1035"/>
          <ac:spMkLst>
            <pc:docMk/>
            <pc:sldMk cId="2537109607" sldId="831"/>
            <ac:spMk id="3" creationId="{BE742A2B-CA8D-4AE1-B1F0-BE43971EE5D8}"/>
          </ac:spMkLst>
        </pc:spChg>
        <pc:picChg chg="del">
          <ac:chgData name="Otavio Augusto Sabia Gava" userId="68ac195b-011b-467c-86d4-321df89323d0" providerId="ADAL" clId="{0C687AD9-2800-41E2-AA69-D02ABC7EDD76}" dt="2023-11-13T20:57:22.955" v="1468" actId="478"/>
          <ac:picMkLst>
            <pc:docMk/>
            <pc:sldMk cId="2537109607" sldId="831"/>
            <ac:picMk id="90" creationId="{C9606715-AA5B-4958-92A4-5BA428DAEDB3}"/>
          </ac:picMkLst>
        </pc:picChg>
        <pc:picChg chg="del">
          <ac:chgData name="Otavio Augusto Sabia Gava" userId="68ac195b-011b-467c-86d4-321df89323d0" providerId="ADAL" clId="{0C687AD9-2800-41E2-AA69-D02ABC7EDD76}" dt="2023-11-13T20:57:22.955" v="1468" actId="478"/>
          <ac:picMkLst>
            <pc:docMk/>
            <pc:sldMk cId="2537109607" sldId="831"/>
            <ac:picMk id="96" creationId="{5A4C48BA-2B4B-4608-A5E2-463409EEABF4}"/>
          </ac:picMkLst>
        </pc:picChg>
        <pc:picChg chg="mod">
          <ac:chgData name="Otavio Augusto Sabia Gava" userId="68ac195b-011b-467c-86d4-321df89323d0" providerId="ADAL" clId="{0C687AD9-2800-41E2-AA69-D02ABC7EDD76}" dt="2023-11-13T19:18:13.665" v="807" actId="1037"/>
          <ac:picMkLst>
            <pc:docMk/>
            <pc:sldMk cId="2537109607" sldId="831"/>
            <ac:picMk id="100" creationId="{934804E1-ABD8-4C5C-B2FD-6485D22F0D19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32.807" v="2404" actId="47"/>
        <pc:sldMkLst>
          <pc:docMk/>
          <pc:sldMk cId="2878521604" sldId="832"/>
        </pc:sldMkLst>
        <pc:spChg chg="mod">
          <ac:chgData name="Otavio Augusto Sabia Gava" userId="68ac195b-011b-467c-86d4-321df89323d0" providerId="ADAL" clId="{0C687AD9-2800-41E2-AA69-D02ABC7EDD76}" dt="2023-11-13T19:17:23.021" v="786" actId="1035"/>
          <ac:spMkLst>
            <pc:docMk/>
            <pc:sldMk cId="2878521604" sldId="832"/>
            <ac:spMk id="2" creationId="{463DE0AD-F584-44EA-BFBE-09B4DFF59965}"/>
          </ac:spMkLst>
        </pc:spChg>
        <pc:picChg chg="mod">
          <ac:chgData name="Otavio Augusto Sabia Gava" userId="68ac195b-011b-467c-86d4-321df89323d0" providerId="ADAL" clId="{0C687AD9-2800-41E2-AA69-D02ABC7EDD76}" dt="2023-11-13T19:18:21.864" v="809" actId="1037"/>
          <ac:picMkLst>
            <pc:docMk/>
            <pc:sldMk cId="2878521604" sldId="832"/>
            <ac:picMk id="65" creationId="{863E95CA-30A5-4C59-979D-C339907C9F76}"/>
          </ac:picMkLst>
        </pc:picChg>
        <pc:picChg chg="del">
          <ac:chgData name="Otavio Augusto Sabia Gava" userId="68ac195b-011b-467c-86d4-321df89323d0" providerId="ADAL" clId="{0C687AD9-2800-41E2-AA69-D02ABC7EDD76}" dt="2023-11-13T20:57:24.896" v="1469" actId="478"/>
          <ac:picMkLst>
            <pc:docMk/>
            <pc:sldMk cId="2878521604" sldId="832"/>
            <ac:picMk id="68" creationId="{786F20B8-F6A7-4930-B3B0-A1A04CD3A2F9}"/>
          </ac:picMkLst>
        </pc:picChg>
        <pc:picChg chg="del">
          <ac:chgData name="Otavio Augusto Sabia Gava" userId="68ac195b-011b-467c-86d4-321df89323d0" providerId="ADAL" clId="{0C687AD9-2800-41E2-AA69-D02ABC7EDD76}" dt="2023-11-13T20:57:24.896" v="1469" actId="478"/>
          <ac:picMkLst>
            <pc:docMk/>
            <pc:sldMk cId="2878521604" sldId="832"/>
            <ac:picMk id="70" creationId="{BC5B220A-0A14-4B12-BA10-CD89F4F4D9F1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33.843" v="2405" actId="47"/>
        <pc:sldMkLst>
          <pc:docMk/>
          <pc:sldMk cId="1153291875" sldId="854"/>
        </pc:sldMkLst>
        <pc:spChg chg="mod">
          <ac:chgData name="Otavio Augusto Sabia Gava" userId="68ac195b-011b-467c-86d4-321df89323d0" providerId="ADAL" clId="{0C687AD9-2800-41E2-AA69-D02ABC7EDD76}" dt="2023-11-13T19:18:49.678" v="839" actId="1038"/>
          <ac:spMkLst>
            <pc:docMk/>
            <pc:sldMk cId="1153291875" sldId="854"/>
            <ac:spMk id="2" creationId="{7C19342F-4052-46FA-B844-EB42E8457DCA}"/>
          </ac:spMkLst>
        </pc:spChg>
        <pc:picChg chg="del">
          <ac:chgData name="Otavio Augusto Sabia Gava" userId="68ac195b-011b-467c-86d4-321df89323d0" providerId="ADAL" clId="{0C687AD9-2800-41E2-AA69-D02ABC7EDD76}" dt="2023-11-13T20:57:26.384" v="1470" actId="478"/>
          <ac:picMkLst>
            <pc:docMk/>
            <pc:sldMk cId="1153291875" sldId="854"/>
            <ac:picMk id="54" creationId="{3A5EDB2D-EED2-45A8-9857-1D9501052B20}"/>
          </ac:picMkLst>
        </pc:picChg>
        <pc:picChg chg="mod">
          <ac:chgData name="Otavio Augusto Sabia Gava" userId="68ac195b-011b-467c-86d4-321df89323d0" providerId="ADAL" clId="{0C687AD9-2800-41E2-AA69-D02ABC7EDD76}" dt="2023-11-13T19:18:37.191" v="820" actId="1036"/>
          <ac:picMkLst>
            <pc:docMk/>
            <pc:sldMk cId="1153291875" sldId="854"/>
            <ac:picMk id="56" creationId="{481A14F2-72FE-4A57-8174-DEE3E2B443FA}"/>
          </ac:picMkLst>
        </pc:picChg>
      </pc:sldChg>
      <pc:sldChg chg="addSp delSp modSp mod setBg modShow modNotesTx">
        <pc:chgData name="Otavio Augusto Sabia Gava" userId="68ac195b-011b-467c-86d4-321df89323d0" providerId="ADAL" clId="{0C687AD9-2800-41E2-AA69-D02ABC7EDD76}" dt="2024-02-01T17:55:11.003" v="30632"/>
        <pc:sldMkLst>
          <pc:docMk/>
          <pc:sldMk cId="3314861916" sldId="870"/>
        </pc:sldMkLst>
        <pc:spChg chg="mod">
          <ac:chgData name="Otavio Augusto Sabia Gava" userId="68ac195b-011b-467c-86d4-321df89323d0" providerId="ADAL" clId="{0C687AD9-2800-41E2-AA69-D02ABC7EDD76}" dt="2023-11-13T21:19:18.462" v="1669" actId="1036"/>
          <ac:spMkLst>
            <pc:docMk/>
            <pc:sldMk cId="3314861916" sldId="870"/>
            <ac:spMk id="2" creationId="{6CA68606-A2BD-4D1B-9252-E8620DF521E2}"/>
          </ac:spMkLst>
        </pc:spChg>
        <pc:spChg chg="mod">
          <ac:chgData name="Otavio Augusto Sabia Gava" userId="68ac195b-011b-467c-86d4-321df89323d0" providerId="ADAL" clId="{0C687AD9-2800-41E2-AA69-D02ABC7EDD76}" dt="2023-11-13T21:05:39.679" v="1502" actId="113"/>
          <ac:spMkLst>
            <pc:docMk/>
            <pc:sldMk cId="3314861916" sldId="870"/>
            <ac:spMk id="3" creationId="{2A7BC3DD-D4AC-499F-915E-9B5C3FD007B0}"/>
          </ac:spMkLst>
        </pc:spChg>
        <pc:spChg chg="mod">
          <ac:chgData name="Otavio Augusto Sabia Gava" userId="68ac195b-011b-467c-86d4-321df89323d0" providerId="ADAL" clId="{0C687AD9-2800-41E2-AA69-D02ABC7EDD76}" dt="2023-11-13T21:19:21.375" v="1672" actId="1035"/>
          <ac:spMkLst>
            <pc:docMk/>
            <pc:sldMk cId="3314861916" sldId="870"/>
            <ac:spMk id="4" creationId="{9F3568A4-29E2-4C47-95B7-5473C66E25DE}"/>
          </ac:spMkLst>
        </pc:spChg>
        <pc:spChg chg="mod">
          <ac:chgData name="Otavio Augusto Sabia Gava" userId="68ac195b-011b-467c-86d4-321df89323d0" providerId="ADAL" clId="{0C687AD9-2800-41E2-AA69-D02ABC7EDD76}" dt="2023-11-13T21:19:14.664" v="1663" actId="1036"/>
          <ac:spMkLst>
            <pc:docMk/>
            <pc:sldMk cId="3314861916" sldId="870"/>
            <ac:spMk id="5" creationId="{A1BA5D91-5B26-4D06-866A-C5850609289C}"/>
          </ac:spMkLst>
        </pc:spChg>
        <pc:spChg chg="mod">
          <ac:chgData name="Otavio Augusto Sabia Gava" userId="68ac195b-011b-467c-86d4-321df89323d0" providerId="ADAL" clId="{0C687AD9-2800-41E2-AA69-D02ABC7EDD76}" dt="2023-11-13T21:05:33.603" v="1496" actId="113"/>
          <ac:spMkLst>
            <pc:docMk/>
            <pc:sldMk cId="3314861916" sldId="870"/>
            <ac:spMk id="6" creationId="{E924C1E9-CB5E-4E8A-9B2D-7CEBF479124B}"/>
          </ac:spMkLst>
        </pc:spChg>
        <pc:spChg chg="mod">
          <ac:chgData name="Otavio Augusto Sabia Gava" userId="68ac195b-011b-467c-86d4-321df89323d0" providerId="ADAL" clId="{0C687AD9-2800-41E2-AA69-D02ABC7EDD76}" dt="2023-11-13T21:19:24.163" v="1677" actId="1035"/>
          <ac:spMkLst>
            <pc:docMk/>
            <pc:sldMk cId="3314861916" sldId="870"/>
            <ac:spMk id="7" creationId="{0723E493-923F-4950-90D1-98C8E8A035AF}"/>
          </ac:spMkLst>
        </pc:spChg>
        <pc:spChg chg="mod">
          <ac:chgData name="Otavio Augusto Sabia Gava" userId="68ac195b-011b-467c-86d4-321df89323d0" providerId="ADAL" clId="{0C687AD9-2800-41E2-AA69-D02ABC7EDD76}" dt="2023-11-13T21:05:37.123" v="1499" actId="113"/>
          <ac:spMkLst>
            <pc:docMk/>
            <pc:sldMk cId="3314861916" sldId="870"/>
            <ac:spMk id="8" creationId="{620A249A-E13F-4E68-B569-D66E013E2390}"/>
          </ac:spMkLst>
        </pc:spChg>
        <pc:spChg chg="mod">
          <ac:chgData name="Otavio Augusto Sabia Gava" userId="68ac195b-011b-467c-86d4-321df89323d0" providerId="ADAL" clId="{0C687AD9-2800-41E2-AA69-D02ABC7EDD76}" dt="2023-11-13T21:05:35.047" v="1497" actId="113"/>
          <ac:spMkLst>
            <pc:docMk/>
            <pc:sldMk cId="3314861916" sldId="870"/>
            <ac:spMk id="9" creationId="{7B6DED2C-7F00-44CF-A322-CF54618672FA}"/>
          </ac:spMkLst>
        </pc:spChg>
        <pc:spChg chg="mod">
          <ac:chgData name="Otavio Augusto Sabia Gava" userId="68ac195b-011b-467c-86d4-321df89323d0" providerId="ADAL" clId="{0C687AD9-2800-41E2-AA69-D02ABC7EDD76}" dt="2023-11-13T21:05:43.355" v="1504" actId="113"/>
          <ac:spMkLst>
            <pc:docMk/>
            <pc:sldMk cId="3314861916" sldId="870"/>
            <ac:spMk id="10" creationId="{EA9F11DF-FE0C-4BE5-9A91-67B30E158B8A}"/>
          </ac:spMkLst>
        </pc:spChg>
        <pc:spChg chg="mod">
          <ac:chgData name="Otavio Augusto Sabia Gava" userId="68ac195b-011b-467c-86d4-321df89323d0" providerId="ADAL" clId="{0C687AD9-2800-41E2-AA69-D02ABC7EDD76}" dt="2023-11-13T21:19:05.580" v="1651" actId="20577"/>
          <ac:spMkLst>
            <pc:docMk/>
            <pc:sldMk cId="3314861916" sldId="870"/>
            <ac:spMk id="13" creationId="{01F09DF0-F53C-44E2-99A1-CE9D7184D5BC}"/>
          </ac:spMkLst>
        </pc:spChg>
        <pc:spChg chg="del">
          <ac:chgData name="Otavio Augusto Sabia Gava" userId="68ac195b-011b-467c-86d4-321df89323d0" providerId="ADAL" clId="{0C687AD9-2800-41E2-AA69-D02ABC7EDD76}" dt="2023-11-13T13:05:39.957" v="391" actId="478"/>
          <ac:spMkLst>
            <pc:docMk/>
            <pc:sldMk cId="3314861916" sldId="870"/>
            <ac:spMk id="14" creationId="{A21F264F-B3D2-4E9C-BAD4-5E86EBB4A63F}"/>
          </ac:spMkLst>
        </pc:spChg>
        <pc:spChg chg="del mod">
          <ac:chgData name="Otavio Augusto Sabia Gava" userId="68ac195b-011b-467c-86d4-321df89323d0" providerId="ADAL" clId="{0C687AD9-2800-41E2-AA69-D02ABC7EDD76}" dt="2023-11-13T13:05:42.198" v="393" actId="478"/>
          <ac:spMkLst>
            <pc:docMk/>
            <pc:sldMk cId="3314861916" sldId="870"/>
            <ac:spMk id="21" creationId="{35D7BA98-8218-0A42-7733-63A4BEB41BD1}"/>
          </ac:spMkLst>
        </pc:spChg>
        <pc:spChg chg="del mod">
          <ac:chgData name="Otavio Augusto Sabia Gava" userId="68ac195b-011b-467c-86d4-321df89323d0" providerId="ADAL" clId="{0C687AD9-2800-41E2-AA69-D02ABC7EDD76}" dt="2023-11-13T13:05:44.572" v="397" actId="478"/>
          <ac:spMkLst>
            <pc:docMk/>
            <pc:sldMk cId="3314861916" sldId="870"/>
            <ac:spMk id="27" creationId="{53C55976-5C1E-AAC6-5D0E-477A27704D6B}"/>
          </ac:spMkLst>
        </pc:spChg>
        <pc:spChg chg="del">
          <ac:chgData name="Otavio Augusto Sabia Gava" userId="68ac195b-011b-467c-86d4-321df89323d0" providerId="ADAL" clId="{0C687AD9-2800-41E2-AA69-D02ABC7EDD76}" dt="2023-11-13T13:05:45.840" v="398" actId="478"/>
          <ac:spMkLst>
            <pc:docMk/>
            <pc:sldMk cId="3314861916" sldId="870"/>
            <ac:spMk id="29" creationId="{6694C025-F492-32EC-F1E3-1E38C66F112C}"/>
          </ac:spMkLst>
        </pc:spChg>
        <pc:picChg chg="add mod">
          <ac:chgData name="Otavio Augusto Sabia Gava" userId="68ac195b-011b-467c-86d4-321df89323d0" providerId="ADAL" clId="{0C687AD9-2800-41E2-AA69-D02ABC7EDD76}" dt="2024-02-01T17:55:11.003" v="30632"/>
          <ac:picMkLst>
            <pc:docMk/>
            <pc:sldMk cId="3314861916" sldId="870"/>
            <ac:picMk id="11" creationId="{BC79F036-F6A7-6FCC-64BE-29F81BF5B47B}"/>
          </ac:picMkLst>
        </pc:picChg>
        <pc:picChg chg="add mod">
          <ac:chgData name="Otavio Augusto Sabia Gava" userId="68ac195b-011b-467c-86d4-321df89323d0" providerId="ADAL" clId="{0C687AD9-2800-41E2-AA69-D02ABC7EDD76}" dt="2024-02-01T17:44:18.616" v="30630"/>
          <ac:picMkLst>
            <pc:docMk/>
            <pc:sldMk cId="3314861916" sldId="870"/>
            <ac:picMk id="12" creationId="{3EA52613-999D-0721-9C2B-4DE7BF0C1E55}"/>
          </ac:picMkLst>
        </pc:picChg>
        <pc:picChg chg="del">
          <ac:chgData name="Otavio Augusto Sabia Gava" userId="68ac195b-011b-467c-86d4-321df89323d0" providerId="ADAL" clId="{0C687AD9-2800-41E2-AA69-D02ABC7EDD76}" dt="2023-11-13T20:56:39.120" v="1454" actId="478"/>
          <ac:picMkLst>
            <pc:docMk/>
            <pc:sldMk cId="3314861916" sldId="870"/>
            <ac:picMk id="12" creationId="{41051575-A6FC-9686-583D-04BA2209112B}"/>
          </ac:picMkLst>
        </pc:picChg>
        <pc:picChg chg="del">
          <ac:chgData name="Otavio Augusto Sabia Gava" userId="68ac195b-011b-467c-86d4-321df89323d0" providerId="ADAL" clId="{0C687AD9-2800-41E2-AA69-D02ABC7EDD76}" dt="2023-11-13T13:05:42.885" v="394" actId="478"/>
          <ac:picMkLst>
            <pc:docMk/>
            <pc:sldMk cId="3314861916" sldId="870"/>
            <ac:picMk id="20" creationId="{2595B533-4EEC-E595-8582-8BF5AD04F313}"/>
          </ac:picMkLst>
        </pc:picChg>
        <pc:picChg chg="del">
          <ac:chgData name="Otavio Augusto Sabia Gava" userId="68ac195b-011b-467c-86d4-321df89323d0" providerId="ADAL" clId="{0C687AD9-2800-41E2-AA69-D02ABC7EDD76}" dt="2023-11-13T13:05:43.388" v="395" actId="478"/>
          <ac:picMkLst>
            <pc:docMk/>
            <pc:sldMk cId="3314861916" sldId="870"/>
            <ac:picMk id="26" creationId="{36E4CAAD-88D7-341C-1E96-5DFB6C139E34}"/>
          </ac:picMkLst>
        </pc:picChg>
        <pc:picChg chg="del">
          <ac:chgData name="Otavio Augusto Sabia Gava" userId="68ac195b-011b-467c-86d4-321df89323d0" providerId="ADAL" clId="{0C687AD9-2800-41E2-AA69-D02ABC7EDD76}" dt="2023-11-13T13:05:46.965" v="399" actId="478"/>
          <ac:picMkLst>
            <pc:docMk/>
            <pc:sldMk cId="3314861916" sldId="870"/>
            <ac:picMk id="28" creationId="{DFCA54A8-3DEA-182C-782E-C920ACEDC9CE}"/>
          </ac:picMkLst>
        </pc:picChg>
      </pc:sldChg>
      <pc:sldChg chg="modSp del mod ord">
        <pc:chgData name="Otavio Augusto Sabia Gava" userId="68ac195b-011b-467c-86d4-321df89323d0" providerId="ADAL" clId="{0C687AD9-2800-41E2-AA69-D02ABC7EDD76}" dt="2024-01-14T01:01:17.018" v="30620" actId="47"/>
        <pc:sldMkLst>
          <pc:docMk/>
          <pc:sldMk cId="3074479788" sldId="878"/>
        </pc:sldMkLst>
        <pc:spChg chg="mod">
          <ac:chgData name="Otavio Augusto Sabia Gava" userId="68ac195b-011b-467c-86d4-321df89323d0" providerId="ADAL" clId="{0C687AD9-2800-41E2-AA69-D02ABC7EDD76}" dt="2023-11-13T19:43:22.944" v="1047" actId="1036"/>
          <ac:spMkLst>
            <pc:docMk/>
            <pc:sldMk cId="3074479788" sldId="878"/>
            <ac:spMk id="3" creationId="{EF30D5AB-6CDF-4C48-8A88-8C775434B8DC}"/>
          </ac:spMkLst>
        </pc:spChg>
      </pc:sldChg>
      <pc:sldChg chg="delSp modSp add del mod">
        <pc:chgData name="Otavio Augusto Sabia Gava" userId="68ac195b-011b-467c-86d4-321df89323d0" providerId="ADAL" clId="{0C687AD9-2800-41E2-AA69-D02ABC7EDD76}" dt="2023-11-17T12:07:38.990" v="2409" actId="47"/>
        <pc:sldMkLst>
          <pc:docMk/>
          <pc:sldMk cId="4154939393" sldId="908"/>
        </pc:sldMkLst>
        <pc:spChg chg="mod">
          <ac:chgData name="Otavio Augusto Sabia Gava" userId="68ac195b-011b-467c-86d4-321df89323d0" providerId="ADAL" clId="{0C687AD9-2800-41E2-AA69-D02ABC7EDD76}" dt="2023-11-13T19:19:42.774" v="874" actId="1036"/>
          <ac:spMkLst>
            <pc:docMk/>
            <pc:sldMk cId="4154939393" sldId="908"/>
            <ac:spMk id="6" creationId="{BFEDF09A-E658-4C2A-B401-6637E022E2E8}"/>
          </ac:spMkLst>
        </pc:spChg>
        <pc:spChg chg="mod">
          <ac:chgData name="Otavio Augusto Sabia Gava" userId="68ac195b-011b-467c-86d4-321df89323d0" providerId="ADAL" clId="{0C687AD9-2800-41E2-AA69-D02ABC7EDD76}" dt="2023-11-13T19:19:38.739" v="866" actId="1035"/>
          <ac:spMkLst>
            <pc:docMk/>
            <pc:sldMk cId="4154939393" sldId="908"/>
            <ac:spMk id="77" creationId="{0EB8F76C-9B49-4658-92A9-6A4DA91E8202}"/>
          </ac:spMkLst>
        </pc:spChg>
        <pc:grpChg chg="mod">
          <ac:chgData name="Otavio Augusto Sabia Gava" userId="68ac195b-011b-467c-86d4-321df89323d0" providerId="ADAL" clId="{0C687AD9-2800-41E2-AA69-D02ABC7EDD76}" dt="2023-11-13T19:19:38.739" v="866" actId="1035"/>
          <ac:grpSpMkLst>
            <pc:docMk/>
            <pc:sldMk cId="4154939393" sldId="908"/>
            <ac:grpSpMk id="76" creationId="{FBD92353-9184-4C43-9DE7-22C5BD275167}"/>
          </ac:grpSpMkLst>
        </pc:grpChg>
        <pc:picChg chg="del">
          <ac:chgData name="Otavio Augusto Sabia Gava" userId="68ac195b-011b-467c-86d4-321df89323d0" providerId="ADAL" clId="{0C687AD9-2800-41E2-AA69-D02ABC7EDD76}" dt="2023-11-13T20:57:36.352" v="1474" actId="478"/>
          <ac:picMkLst>
            <pc:docMk/>
            <pc:sldMk cId="4154939393" sldId="908"/>
            <ac:picMk id="73" creationId="{34636F14-91CD-47EB-8FA2-348568B37730}"/>
          </ac:picMkLst>
        </pc:picChg>
        <pc:picChg chg="del">
          <ac:chgData name="Otavio Augusto Sabia Gava" userId="68ac195b-011b-467c-86d4-321df89323d0" providerId="ADAL" clId="{0C687AD9-2800-41E2-AA69-D02ABC7EDD76}" dt="2023-11-13T20:57:36.352" v="1474" actId="478"/>
          <ac:picMkLst>
            <pc:docMk/>
            <pc:sldMk cId="4154939393" sldId="908"/>
            <ac:picMk id="75" creationId="{81E7FFC3-BC0F-4EDC-8A43-373D05801CD7}"/>
          </ac:picMkLst>
        </pc:picChg>
        <pc:picChg chg="mod">
          <ac:chgData name="Otavio Augusto Sabia Gava" userId="68ac195b-011b-467c-86d4-321df89323d0" providerId="ADAL" clId="{0C687AD9-2800-41E2-AA69-D02ABC7EDD76}" dt="2023-11-13T19:19:38.739" v="866" actId="1035"/>
          <ac:picMkLst>
            <pc:docMk/>
            <pc:sldMk cId="4154939393" sldId="908"/>
            <ac:picMk id="79" creationId="{7746F012-F2D8-4871-A1A4-75286A486C0C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40.411" v="2410" actId="47"/>
        <pc:sldMkLst>
          <pc:docMk/>
          <pc:sldMk cId="3463354224" sldId="910"/>
        </pc:sldMkLst>
        <pc:spChg chg="del">
          <ac:chgData name="Otavio Augusto Sabia Gava" userId="68ac195b-011b-467c-86d4-321df89323d0" providerId="ADAL" clId="{0C687AD9-2800-41E2-AA69-D02ABC7EDD76}" dt="2023-11-13T19:20:03.164" v="878" actId="478"/>
          <ac:spMkLst>
            <pc:docMk/>
            <pc:sldMk cId="3463354224" sldId="910"/>
            <ac:spMk id="3" creationId="{6B9FC4F3-142A-40C1-A83B-B622046EF269}"/>
          </ac:spMkLst>
        </pc:spChg>
        <pc:spChg chg="add del mod">
          <ac:chgData name="Otavio Augusto Sabia Gava" userId="68ac195b-011b-467c-86d4-321df89323d0" providerId="ADAL" clId="{0C687AD9-2800-41E2-AA69-D02ABC7EDD76}" dt="2023-11-13T19:20:05.956" v="881" actId="478"/>
          <ac:spMkLst>
            <pc:docMk/>
            <pc:sldMk cId="3463354224" sldId="910"/>
            <ac:spMk id="5" creationId="{4567CF2A-31C4-B5E6-25B6-6F14CA73FEB1}"/>
          </ac:spMkLst>
        </pc:spChg>
        <pc:spChg chg="add del mod">
          <ac:chgData name="Otavio Augusto Sabia Gava" userId="68ac195b-011b-467c-86d4-321df89323d0" providerId="ADAL" clId="{0C687AD9-2800-41E2-AA69-D02ABC7EDD76}" dt="2023-11-13T19:20:04.586" v="880"/>
          <ac:spMkLst>
            <pc:docMk/>
            <pc:sldMk cId="3463354224" sldId="910"/>
            <ac:spMk id="6" creationId="{9F72E8A5-FD70-199A-690B-D224D73C08BA}"/>
          </ac:spMkLst>
        </pc:spChg>
        <pc:spChg chg="mod">
          <ac:chgData name="Otavio Augusto Sabia Gava" userId="68ac195b-011b-467c-86d4-321df89323d0" providerId="ADAL" clId="{0C687AD9-2800-41E2-AA69-D02ABC7EDD76}" dt="2023-11-13T19:20:03.420" v="879"/>
          <ac:spMkLst>
            <pc:docMk/>
            <pc:sldMk cId="3463354224" sldId="910"/>
            <ac:spMk id="8" creationId="{5C6CCEA7-D8FE-36D0-B682-3B69E294519A}"/>
          </ac:spMkLst>
        </pc:spChg>
        <pc:spChg chg="add mod">
          <ac:chgData name="Otavio Augusto Sabia Gava" userId="68ac195b-011b-467c-86d4-321df89323d0" providerId="ADAL" clId="{0C687AD9-2800-41E2-AA69-D02ABC7EDD76}" dt="2023-11-13T19:20:06.118" v="882"/>
          <ac:spMkLst>
            <pc:docMk/>
            <pc:sldMk cId="3463354224" sldId="910"/>
            <ac:spMk id="11" creationId="{9EBB034D-A64E-A6E4-4023-8DDEDE256CC4}"/>
          </ac:spMkLst>
        </pc:spChg>
        <pc:spChg chg="mod">
          <ac:chgData name="Otavio Augusto Sabia Gava" userId="68ac195b-011b-467c-86d4-321df89323d0" providerId="ADAL" clId="{0C687AD9-2800-41E2-AA69-D02ABC7EDD76}" dt="2023-11-13T19:20:06.118" v="882"/>
          <ac:spMkLst>
            <pc:docMk/>
            <pc:sldMk cId="3463354224" sldId="910"/>
            <ac:spMk id="13" creationId="{1A9E3820-AC13-C169-1F68-9C1FB987DA6B}"/>
          </ac:spMkLst>
        </pc:spChg>
        <pc:grpChg chg="add del mod">
          <ac:chgData name="Otavio Augusto Sabia Gava" userId="68ac195b-011b-467c-86d4-321df89323d0" providerId="ADAL" clId="{0C687AD9-2800-41E2-AA69-D02ABC7EDD76}" dt="2023-11-13T19:20:04.586" v="880"/>
          <ac:grpSpMkLst>
            <pc:docMk/>
            <pc:sldMk cId="3463354224" sldId="910"/>
            <ac:grpSpMk id="7" creationId="{B1DE26CA-AC6D-0214-88C7-0C1C1D5FF6E3}"/>
          </ac:grpSpMkLst>
        </pc:grpChg>
        <pc:grpChg chg="add mod">
          <ac:chgData name="Otavio Augusto Sabia Gava" userId="68ac195b-011b-467c-86d4-321df89323d0" providerId="ADAL" clId="{0C687AD9-2800-41E2-AA69-D02ABC7EDD76}" dt="2023-11-13T19:20:06.118" v="882"/>
          <ac:grpSpMkLst>
            <pc:docMk/>
            <pc:sldMk cId="3463354224" sldId="910"/>
            <ac:grpSpMk id="12" creationId="{9F21A70E-B3CF-93E8-0A0A-451F98C82B70}"/>
          </ac:grpSpMkLst>
        </pc:grpChg>
        <pc:grpChg chg="del">
          <ac:chgData name="Otavio Augusto Sabia Gava" userId="68ac195b-011b-467c-86d4-321df89323d0" providerId="ADAL" clId="{0C687AD9-2800-41E2-AA69-D02ABC7EDD76}" dt="2023-11-13T19:20:01.313" v="877" actId="478"/>
          <ac:grpSpMkLst>
            <pc:docMk/>
            <pc:sldMk cId="3463354224" sldId="910"/>
            <ac:grpSpMk id="80" creationId="{5BFD1B44-0D1C-482C-B78F-49962B8BE8DF}"/>
          </ac:grpSpMkLst>
        </pc:grpChg>
        <pc:picChg chg="mod">
          <ac:chgData name="Otavio Augusto Sabia Gava" userId="68ac195b-011b-467c-86d4-321df89323d0" providerId="ADAL" clId="{0C687AD9-2800-41E2-AA69-D02ABC7EDD76}" dt="2023-11-13T19:20:03.420" v="879"/>
          <ac:picMkLst>
            <pc:docMk/>
            <pc:sldMk cId="3463354224" sldId="910"/>
            <ac:picMk id="10" creationId="{D2BCCB02-1AEA-458D-16CD-66C1B95B6E70}"/>
          </ac:picMkLst>
        </pc:picChg>
        <pc:picChg chg="mod">
          <ac:chgData name="Otavio Augusto Sabia Gava" userId="68ac195b-011b-467c-86d4-321df89323d0" providerId="ADAL" clId="{0C687AD9-2800-41E2-AA69-D02ABC7EDD76}" dt="2023-11-13T19:20:06.118" v="882"/>
          <ac:picMkLst>
            <pc:docMk/>
            <pc:sldMk cId="3463354224" sldId="910"/>
            <ac:picMk id="14" creationId="{891C1D13-C12A-575E-EC69-51D895C90F67}"/>
          </ac:picMkLst>
        </pc:picChg>
        <pc:picChg chg="del">
          <ac:chgData name="Otavio Augusto Sabia Gava" userId="68ac195b-011b-467c-86d4-321df89323d0" providerId="ADAL" clId="{0C687AD9-2800-41E2-AA69-D02ABC7EDD76}" dt="2023-11-13T20:57:38.602" v="1475" actId="478"/>
          <ac:picMkLst>
            <pc:docMk/>
            <pc:sldMk cId="3463354224" sldId="910"/>
            <ac:picMk id="78" creationId="{6F4555CE-B083-42A9-9B4A-E04BABCD5861}"/>
          </ac:picMkLst>
        </pc:picChg>
      </pc:sldChg>
      <pc:sldChg chg="del">
        <pc:chgData name="Otavio Augusto Sabia Gava" userId="68ac195b-011b-467c-86d4-321df89323d0" providerId="ADAL" clId="{0C687AD9-2800-41E2-AA69-D02ABC7EDD76}" dt="2023-11-13T15:07:28.331" v="589" actId="2696"/>
        <pc:sldMkLst>
          <pc:docMk/>
          <pc:sldMk cId="1635455547" sldId="941"/>
        </pc:sldMkLst>
      </pc:sldChg>
      <pc:sldChg chg="addSp delSp modSp add del mod">
        <pc:chgData name="Otavio Augusto Sabia Gava" userId="68ac195b-011b-467c-86d4-321df89323d0" providerId="ADAL" clId="{0C687AD9-2800-41E2-AA69-D02ABC7EDD76}" dt="2023-11-17T12:07:34.630" v="2406" actId="47"/>
        <pc:sldMkLst>
          <pc:docMk/>
          <pc:sldMk cId="2043394353" sldId="945"/>
        </pc:sldMkLst>
        <pc:spChg chg="add mod">
          <ac:chgData name="Otavio Augusto Sabia Gava" userId="68ac195b-011b-467c-86d4-321df89323d0" providerId="ADAL" clId="{0C687AD9-2800-41E2-AA69-D02ABC7EDD76}" dt="2023-11-13T19:15:26.782" v="718"/>
          <ac:spMkLst>
            <pc:docMk/>
            <pc:sldMk cId="2043394353" sldId="945"/>
            <ac:spMk id="2" creationId="{DF483DA3-BE0D-E4C2-C281-A15554541E53}"/>
          </ac:spMkLst>
        </pc:spChg>
        <pc:picChg chg="del">
          <ac:chgData name="Otavio Augusto Sabia Gava" userId="68ac195b-011b-467c-86d4-321df89323d0" providerId="ADAL" clId="{0C687AD9-2800-41E2-AA69-D02ABC7EDD76}" dt="2023-11-13T20:57:29.069" v="1471" actId="478"/>
          <ac:picMkLst>
            <pc:docMk/>
            <pc:sldMk cId="2043394353" sldId="945"/>
            <ac:picMk id="21" creationId="{010EEADF-D73D-4B0D-A2D2-B496B14CEE94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42.013" v="2411" actId="47"/>
        <pc:sldMkLst>
          <pc:docMk/>
          <pc:sldMk cId="1615437936" sldId="946"/>
        </pc:sldMkLst>
        <pc:spChg chg="mod">
          <ac:chgData name="Otavio Augusto Sabia Gava" userId="68ac195b-011b-467c-86d4-321df89323d0" providerId="ADAL" clId="{0C687AD9-2800-41E2-AA69-D02ABC7EDD76}" dt="2023-11-13T19:20:36.928" v="920" actId="1036"/>
          <ac:spMkLst>
            <pc:docMk/>
            <pc:sldMk cId="1615437936" sldId="946"/>
            <ac:spMk id="6" creationId="{AF732F52-71A4-470C-8B8A-BD9D20751C2A}"/>
          </ac:spMkLst>
        </pc:spChg>
        <pc:picChg chg="mod">
          <ac:chgData name="Otavio Augusto Sabia Gava" userId="68ac195b-011b-467c-86d4-321df89323d0" providerId="ADAL" clId="{0C687AD9-2800-41E2-AA69-D02ABC7EDD76}" dt="2023-11-13T19:20:30.286" v="911" actId="1036"/>
          <ac:picMkLst>
            <pc:docMk/>
            <pc:sldMk cId="1615437936" sldId="946"/>
            <ac:picMk id="5" creationId="{9F79AA35-4AC4-42D2-8722-F45C8B4E5C7C}"/>
          </ac:picMkLst>
        </pc:picChg>
        <pc:picChg chg="del">
          <ac:chgData name="Otavio Augusto Sabia Gava" userId="68ac195b-011b-467c-86d4-321df89323d0" providerId="ADAL" clId="{0C687AD9-2800-41E2-AA69-D02ABC7EDD76}" dt="2023-11-13T20:57:40.310" v="1476" actId="478"/>
          <ac:picMkLst>
            <pc:docMk/>
            <pc:sldMk cId="1615437936" sldId="946"/>
            <ac:picMk id="20" creationId="{835C2473-8A89-47FC-8783-C30EF68E9104}"/>
          </ac:picMkLst>
        </pc:picChg>
      </pc:sldChg>
      <pc:sldChg chg="add del">
        <pc:chgData name="Otavio Augusto Sabia Gava" userId="68ac195b-011b-467c-86d4-321df89323d0" providerId="ADAL" clId="{0C687AD9-2800-41E2-AA69-D02ABC7EDD76}" dt="2023-11-13T19:19:05.690" v="840" actId="47"/>
        <pc:sldMkLst>
          <pc:docMk/>
          <pc:sldMk cId="2318418780" sldId="1118"/>
        </pc:sldMkLst>
      </pc:sldChg>
      <pc:sldChg chg="addSp delSp modSp mod modShow">
        <pc:chgData name="Otavio Augusto Sabia Gava" userId="68ac195b-011b-467c-86d4-321df89323d0" providerId="ADAL" clId="{0C687AD9-2800-41E2-AA69-D02ABC7EDD76}" dt="2024-02-01T17:55:01.675" v="30631" actId="1036"/>
        <pc:sldMkLst>
          <pc:docMk/>
          <pc:sldMk cId="2857837861" sldId="1130"/>
        </pc:sldMkLst>
        <pc:spChg chg="mod">
          <ac:chgData name="Otavio Augusto Sabia Gava" userId="68ac195b-011b-467c-86d4-321df89323d0" providerId="ADAL" clId="{0C687AD9-2800-41E2-AA69-D02ABC7EDD76}" dt="2023-11-13T12:23:09.146" v="369" actId="113"/>
          <ac:spMkLst>
            <pc:docMk/>
            <pc:sldMk cId="2857837861" sldId="1130"/>
            <ac:spMk id="41" creationId="{7095C1D4-F90F-418D-833E-B1A36E361066}"/>
          </ac:spMkLst>
        </pc:spChg>
        <pc:picChg chg="add mod">
          <ac:chgData name="Otavio Augusto Sabia Gava" userId="68ac195b-011b-467c-86d4-321df89323d0" providerId="ADAL" clId="{0C687AD9-2800-41E2-AA69-D02ABC7EDD76}" dt="2023-11-20T13:21:49.855" v="4148"/>
          <ac:picMkLst>
            <pc:docMk/>
            <pc:sldMk cId="2857837861" sldId="1130"/>
            <ac:picMk id="2" creationId="{4B1B6B6A-0B7A-C1F2-B0F8-DA387B524A06}"/>
          </ac:picMkLst>
        </pc:picChg>
        <pc:picChg chg="add mod">
          <ac:chgData name="Otavio Augusto Sabia Gava" userId="68ac195b-011b-467c-86d4-321df89323d0" providerId="ADAL" clId="{0C687AD9-2800-41E2-AA69-D02ABC7EDD76}" dt="2024-02-01T17:55:01.675" v="30631" actId="1036"/>
          <ac:picMkLst>
            <pc:docMk/>
            <pc:sldMk cId="2857837861" sldId="1130"/>
            <ac:picMk id="3" creationId="{3DAEB903-23C1-F89F-1DF3-DF72E1CCB0DA}"/>
          </ac:picMkLst>
        </pc:picChg>
        <pc:picChg chg="del">
          <ac:chgData name="Otavio Augusto Sabia Gava" userId="68ac195b-011b-467c-86d4-321df89323d0" providerId="ADAL" clId="{0C687AD9-2800-41E2-AA69-D02ABC7EDD76}" dt="2023-11-13T20:56:37.169" v="1453" actId="478"/>
          <ac:picMkLst>
            <pc:docMk/>
            <pc:sldMk cId="2857837861" sldId="1130"/>
            <ac:picMk id="42" creationId="{1299530C-91B2-49E4-B310-C9F9448A16C3}"/>
          </ac:picMkLst>
        </pc:picChg>
        <pc:picChg chg="del">
          <ac:chgData name="Otavio Augusto Sabia Gava" userId="68ac195b-011b-467c-86d4-321df89323d0" providerId="ADAL" clId="{0C687AD9-2800-41E2-AA69-D02ABC7EDD76}" dt="2023-11-13T20:56:37.169" v="1453" actId="478"/>
          <ac:picMkLst>
            <pc:docMk/>
            <pc:sldMk cId="2857837861" sldId="1130"/>
            <ac:picMk id="43" creationId="{28CBF563-AB3D-4231-8E97-56DA382391D7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28.659" v="2401" actId="47"/>
        <pc:sldMkLst>
          <pc:docMk/>
          <pc:sldMk cId="2185313992" sldId="1156"/>
        </pc:sldMkLst>
        <pc:picChg chg="mod">
          <ac:chgData name="Otavio Augusto Sabia Gava" userId="68ac195b-011b-467c-86d4-321df89323d0" providerId="ADAL" clId="{0C687AD9-2800-41E2-AA69-D02ABC7EDD76}" dt="2023-11-13T19:17:56.863" v="802" actId="1037"/>
          <ac:picMkLst>
            <pc:docMk/>
            <pc:sldMk cId="2185313992" sldId="1156"/>
            <ac:picMk id="13" creationId="{057FF597-427B-4DF0-98B4-79445D1F2165}"/>
          </ac:picMkLst>
        </pc:picChg>
        <pc:picChg chg="del">
          <ac:chgData name="Otavio Augusto Sabia Gava" userId="68ac195b-011b-467c-86d4-321df89323d0" providerId="ADAL" clId="{0C687AD9-2800-41E2-AA69-D02ABC7EDD76}" dt="2023-11-13T20:57:17.174" v="1466" actId="478"/>
          <ac:picMkLst>
            <pc:docMk/>
            <pc:sldMk cId="2185313992" sldId="1156"/>
            <ac:picMk id="21" creationId="{311A4231-C3AD-49C0-9C77-668DEFCE1E96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30.367" v="2402" actId="47"/>
        <pc:sldMkLst>
          <pc:docMk/>
          <pc:sldMk cId="3271760758" sldId="1157"/>
        </pc:sldMkLst>
        <pc:spChg chg="mod">
          <ac:chgData name="Otavio Augusto Sabia Gava" userId="68ac195b-011b-467c-86d4-321df89323d0" providerId="ADAL" clId="{0C687AD9-2800-41E2-AA69-D02ABC7EDD76}" dt="2023-11-13T19:17:47.617" v="800" actId="1036"/>
          <ac:spMkLst>
            <pc:docMk/>
            <pc:sldMk cId="3271760758" sldId="1157"/>
            <ac:spMk id="2" creationId="{369E7DC4-C0CD-4320-80DA-2CF4795772E9}"/>
          </ac:spMkLst>
        </pc:spChg>
        <pc:picChg chg="del">
          <ac:chgData name="Otavio Augusto Sabia Gava" userId="68ac195b-011b-467c-86d4-321df89323d0" providerId="ADAL" clId="{0C687AD9-2800-41E2-AA69-D02ABC7EDD76}" dt="2023-11-13T20:57:19.351" v="1467" actId="478"/>
          <ac:picMkLst>
            <pc:docMk/>
            <pc:sldMk cId="3271760758" sldId="1157"/>
            <ac:picMk id="51" creationId="{E0604AD3-7911-47E1-90F5-1C691310BA1E}"/>
          </ac:picMkLst>
        </pc:picChg>
        <pc:picChg chg="del">
          <ac:chgData name="Otavio Augusto Sabia Gava" userId="68ac195b-011b-467c-86d4-321df89323d0" providerId="ADAL" clId="{0C687AD9-2800-41E2-AA69-D02ABC7EDD76}" dt="2023-11-13T20:57:19.351" v="1467" actId="478"/>
          <ac:picMkLst>
            <pc:docMk/>
            <pc:sldMk cId="3271760758" sldId="1157"/>
            <ac:picMk id="53" creationId="{8F7A1DAE-FCC3-4954-A90F-B1586E563358}"/>
          </ac:picMkLst>
        </pc:picChg>
        <pc:picChg chg="mod">
          <ac:chgData name="Otavio Augusto Sabia Gava" userId="68ac195b-011b-467c-86d4-321df89323d0" providerId="ADAL" clId="{0C687AD9-2800-41E2-AA69-D02ABC7EDD76}" dt="2023-11-13T19:17:42.778" v="798" actId="1035"/>
          <ac:picMkLst>
            <pc:docMk/>
            <pc:sldMk cId="3271760758" sldId="1157"/>
            <ac:picMk id="54" creationId="{C0DD8877-2AEB-43E3-91AE-A653EEBE2CE6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36.803" v="2408" actId="47"/>
        <pc:sldMkLst>
          <pc:docMk/>
          <pc:sldMk cId="1008683876" sldId="1158"/>
        </pc:sldMkLst>
        <pc:spChg chg="add del mod">
          <ac:chgData name="Otavio Augusto Sabia Gava" userId="68ac195b-011b-467c-86d4-321df89323d0" providerId="ADAL" clId="{0C687AD9-2800-41E2-AA69-D02ABC7EDD76}" dt="2023-11-13T19:19:19.436" v="854"/>
          <ac:spMkLst>
            <pc:docMk/>
            <pc:sldMk cId="1008683876" sldId="1158"/>
            <ac:spMk id="3" creationId="{99C960CD-8E0E-5412-A2A3-13933ED348DD}"/>
          </ac:spMkLst>
        </pc:spChg>
        <pc:spChg chg="add mod">
          <ac:chgData name="Otavio Augusto Sabia Gava" userId="68ac195b-011b-467c-86d4-321df89323d0" providerId="ADAL" clId="{0C687AD9-2800-41E2-AA69-D02ABC7EDD76}" dt="2023-11-13T19:19:47.553" v="876"/>
          <ac:spMkLst>
            <pc:docMk/>
            <pc:sldMk cId="1008683876" sldId="1158"/>
            <ac:spMk id="4" creationId="{0B2D2317-BB44-7E5D-4163-AC4237D9A4AE}"/>
          </ac:spMkLst>
        </pc:spChg>
        <pc:spChg chg="mod">
          <ac:chgData name="Otavio Augusto Sabia Gava" userId="68ac195b-011b-467c-86d4-321df89323d0" providerId="ADAL" clId="{0C687AD9-2800-41E2-AA69-D02ABC7EDD76}" dt="2023-11-13T19:19:47.553" v="876"/>
          <ac:spMkLst>
            <pc:docMk/>
            <pc:sldMk cId="1008683876" sldId="1158"/>
            <ac:spMk id="6" creationId="{9FFE7ACE-3194-BB82-0BE6-9078875E51DA}"/>
          </ac:spMkLst>
        </pc:spChg>
        <pc:spChg chg="mod">
          <ac:chgData name="Otavio Augusto Sabia Gava" userId="68ac195b-011b-467c-86d4-321df89323d0" providerId="ADAL" clId="{0C687AD9-2800-41E2-AA69-D02ABC7EDD76}" dt="2023-11-13T19:19:16.610" v="852" actId="1036"/>
          <ac:spMkLst>
            <pc:docMk/>
            <pc:sldMk cId="1008683876" sldId="1158"/>
            <ac:spMk id="20" creationId="{6E4F7FF9-0959-4349-8ECC-83B62C3D0BEC}"/>
          </ac:spMkLst>
        </pc:spChg>
        <pc:grpChg chg="add mod">
          <ac:chgData name="Otavio Augusto Sabia Gava" userId="68ac195b-011b-467c-86d4-321df89323d0" providerId="ADAL" clId="{0C687AD9-2800-41E2-AA69-D02ABC7EDD76}" dt="2023-11-13T19:19:47.553" v="876"/>
          <ac:grpSpMkLst>
            <pc:docMk/>
            <pc:sldMk cId="1008683876" sldId="1158"/>
            <ac:grpSpMk id="5" creationId="{59A7BAF1-EAAC-12AE-E288-BDC467534E2E}"/>
          </ac:grpSpMkLst>
        </pc:grpChg>
        <pc:grpChg chg="del mod">
          <ac:chgData name="Otavio Augusto Sabia Gava" userId="68ac195b-011b-467c-86d4-321df89323d0" providerId="ADAL" clId="{0C687AD9-2800-41E2-AA69-D02ABC7EDD76}" dt="2023-11-13T19:19:47.375" v="875" actId="478"/>
          <ac:grpSpMkLst>
            <pc:docMk/>
            <pc:sldMk cId="1008683876" sldId="1158"/>
            <ac:grpSpMk id="14" creationId="{A85744DD-5C6C-4254-AEED-F4A186D21D40}"/>
          </ac:grpSpMkLst>
        </pc:grpChg>
        <pc:picChg chg="mod">
          <ac:chgData name="Otavio Augusto Sabia Gava" userId="68ac195b-011b-467c-86d4-321df89323d0" providerId="ADAL" clId="{0C687AD9-2800-41E2-AA69-D02ABC7EDD76}" dt="2023-11-13T19:19:47.553" v="876"/>
          <ac:picMkLst>
            <pc:docMk/>
            <pc:sldMk cId="1008683876" sldId="1158"/>
            <ac:picMk id="7" creationId="{FC9C0786-B0E1-00FD-874D-74472863F5A4}"/>
          </ac:picMkLst>
        </pc:picChg>
        <pc:picChg chg="mod">
          <ac:chgData name="Otavio Augusto Sabia Gava" userId="68ac195b-011b-467c-86d4-321df89323d0" providerId="ADAL" clId="{0C687AD9-2800-41E2-AA69-D02ABC7EDD76}" dt="2023-11-13T19:19:16.610" v="852" actId="1036"/>
          <ac:picMkLst>
            <pc:docMk/>
            <pc:sldMk cId="1008683876" sldId="1158"/>
            <ac:picMk id="21" creationId="{E7C902F9-B429-4947-89B9-CD2FBA1229F1}"/>
          </ac:picMkLst>
        </pc:picChg>
        <pc:picChg chg="del">
          <ac:chgData name="Otavio Augusto Sabia Gava" userId="68ac195b-011b-467c-86d4-321df89323d0" providerId="ADAL" clId="{0C687AD9-2800-41E2-AA69-D02ABC7EDD76}" dt="2023-11-13T20:57:34.484" v="1473" actId="478"/>
          <ac:picMkLst>
            <pc:docMk/>
            <pc:sldMk cId="1008683876" sldId="1158"/>
            <ac:picMk id="23" creationId="{94039781-4F48-4B2F-AA40-2D02EA726A61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48.105" v="2412" actId="47"/>
        <pc:sldMkLst>
          <pc:docMk/>
          <pc:sldMk cId="741112289" sldId="1168"/>
        </pc:sldMkLst>
        <pc:spChg chg="mod">
          <ac:chgData name="Otavio Augusto Sabia Gava" userId="68ac195b-011b-467c-86d4-321df89323d0" providerId="ADAL" clId="{0C687AD9-2800-41E2-AA69-D02ABC7EDD76}" dt="2023-11-13T19:20:21.740" v="902" actId="1036"/>
          <ac:spMkLst>
            <pc:docMk/>
            <pc:sldMk cId="741112289" sldId="1168"/>
            <ac:spMk id="3" creationId="{42B3088F-6B9C-4BC3-BD22-3CD274F2E9A6}"/>
          </ac:spMkLst>
        </pc:spChg>
        <pc:picChg chg="del">
          <ac:chgData name="Otavio Augusto Sabia Gava" userId="68ac195b-011b-467c-86d4-321df89323d0" providerId="ADAL" clId="{0C687AD9-2800-41E2-AA69-D02ABC7EDD76}" dt="2023-11-13T20:57:44.249" v="1477" actId="478"/>
          <ac:picMkLst>
            <pc:docMk/>
            <pc:sldMk cId="741112289" sldId="1168"/>
            <ac:picMk id="21" creationId="{F0289970-6BA3-453F-889C-88235649898B}"/>
          </ac:picMkLst>
        </pc:picChg>
        <pc:picChg chg="del">
          <ac:chgData name="Otavio Augusto Sabia Gava" userId="68ac195b-011b-467c-86d4-321df89323d0" providerId="ADAL" clId="{0C687AD9-2800-41E2-AA69-D02ABC7EDD76}" dt="2023-11-13T20:57:44.249" v="1477" actId="478"/>
          <ac:picMkLst>
            <pc:docMk/>
            <pc:sldMk cId="741112289" sldId="1168"/>
            <ac:picMk id="23" creationId="{68F95472-DF19-4590-9CFA-48C40D2E50BA}"/>
          </ac:picMkLst>
        </pc:picChg>
        <pc:picChg chg="mod">
          <ac:chgData name="Otavio Augusto Sabia Gava" userId="68ac195b-011b-467c-86d4-321df89323d0" providerId="ADAL" clId="{0C687AD9-2800-41E2-AA69-D02ABC7EDD76}" dt="2023-11-13T19:20:17.381" v="892" actId="1036"/>
          <ac:picMkLst>
            <pc:docMk/>
            <pc:sldMk cId="741112289" sldId="1168"/>
            <ac:picMk id="24" creationId="{6C895EE3-48AE-4C92-ABF3-2DDCD87273FE}"/>
          </ac:picMkLst>
        </pc:picChg>
      </pc:sldChg>
      <pc:sldChg chg="addSp delSp modSp mod">
        <pc:chgData name="Otavio Augusto Sabia Gava" userId="68ac195b-011b-467c-86d4-321df89323d0" providerId="ADAL" clId="{0C687AD9-2800-41E2-AA69-D02ABC7EDD76}" dt="2024-02-01T17:59:56.650" v="30647"/>
        <pc:sldMkLst>
          <pc:docMk/>
          <pc:sldMk cId="3901137987" sldId="1177"/>
        </pc:sldMkLst>
        <pc:spChg chg="mod">
          <ac:chgData name="Otavio Augusto Sabia Gava" userId="68ac195b-011b-467c-86d4-321df89323d0" providerId="ADAL" clId="{0C687AD9-2800-41E2-AA69-D02ABC7EDD76}" dt="2024-02-01T17:58:43.642" v="30640"/>
          <ac:spMkLst>
            <pc:docMk/>
            <pc:sldMk cId="3901137987" sldId="1177"/>
            <ac:spMk id="2" creationId="{ED89D523-6597-3C33-F3CB-680AEDADD6DA}"/>
          </ac:spMkLst>
        </pc:spChg>
        <pc:spChg chg="add del mod">
          <ac:chgData name="Otavio Augusto Sabia Gava" userId="68ac195b-011b-467c-86d4-321df89323d0" providerId="ADAL" clId="{0C687AD9-2800-41E2-AA69-D02ABC7EDD76}" dt="2023-11-13T12:20:22.489" v="341" actId="478"/>
          <ac:spMkLst>
            <pc:docMk/>
            <pc:sldMk cId="3901137987" sldId="1177"/>
            <ac:spMk id="4" creationId="{C68D3D6C-383A-BB4D-1BD1-4A8268E320A8}"/>
          </ac:spMkLst>
        </pc:spChg>
        <pc:spChg chg="add del mod">
          <ac:chgData name="Otavio Augusto Sabia Gava" userId="68ac195b-011b-467c-86d4-321df89323d0" providerId="ADAL" clId="{0C687AD9-2800-41E2-AA69-D02ABC7EDD76}" dt="2023-11-13T12:20:13.560" v="320"/>
          <ac:spMkLst>
            <pc:docMk/>
            <pc:sldMk cId="3901137987" sldId="1177"/>
            <ac:spMk id="5" creationId="{1AA36E85-035F-1788-C622-0F9A08FECFB7}"/>
          </ac:spMkLst>
        </pc:spChg>
        <pc:spChg chg="add del mod">
          <ac:chgData name="Otavio Augusto Sabia Gava" userId="68ac195b-011b-467c-86d4-321df89323d0" providerId="ADAL" clId="{0C687AD9-2800-41E2-AA69-D02ABC7EDD76}" dt="2023-11-13T12:20:13.560" v="320"/>
          <ac:spMkLst>
            <pc:docMk/>
            <pc:sldMk cId="3901137987" sldId="1177"/>
            <ac:spMk id="6" creationId="{36A4C97E-ECA4-3527-6D79-5833F181C606}"/>
          </ac:spMkLst>
        </pc:spChg>
        <pc:spChg chg="add mod">
          <ac:chgData name="Otavio Augusto Sabia Gava" userId="68ac195b-011b-467c-86d4-321df89323d0" providerId="ADAL" clId="{0C687AD9-2800-41E2-AA69-D02ABC7EDD76}" dt="2024-02-01T17:59:38.154" v="30645"/>
          <ac:spMkLst>
            <pc:docMk/>
            <pc:sldMk cId="3901137987" sldId="1177"/>
            <ac:spMk id="7" creationId="{F8FCF053-39F0-FB2D-5C8F-56D7C0A595FF}"/>
          </ac:spMkLst>
        </pc:spChg>
        <pc:spChg chg="add mod">
          <ac:chgData name="Otavio Augusto Sabia Gava" userId="68ac195b-011b-467c-86d4-321df89323d0" providerId="ADAL" clId="{0C687AD9-2800-41E2-AA69-D02ABC7EDD76}" dt="2024-02-01T17:58:58.867" v="30641"/>
          <ac:spMkLst>
            <pc:docMk/>
            <pc:sldMk cId="3901137987" sldId="1177"/>
            <ac:spMk id="8" creationId="{8F2CC3BD-00F0-3AB1-53A7-BECC1A10BE7F}"/>
          </ac:spMkLst>
        </pc:spChg>
        <pc:spChg chg="add mod">
          <ac:chgData name="Otavio Augusto Sabia Gava" userId="68ac195b-011b-467c-86d4-321df89323d0" providerId="ADAL" clId="{0C687AD9-2800-41E2-AA69-D02ABC7EDD76}" dt="2024-02-01T17:59:05.433" v="30642"/>
          <ac:spMkLst>
            <pc:docMk/>
            <pc:sldMk cId="3901137987" sldId="1177"/>
            <ac:spMk id="9" creationId="{CC7CDF4B-B31E-A36B-F9FF-8CD5271C3388}"/>
          </ac:spMkLst>
        </pc:spChg>
        <pc:spChg chg="add mod">
          <ac:chgData name="Otavio Augusto Sabia Gava" userId="68ac195b-011b-467c-86d4-321df89323d0" providerId="ADAL" clId="{0C687AD9-2800-41E2-AA69-D02ABC7EDD76}" dt="2024-02-01T17:59:23.880" v="30644"/>
          <ac:spMkLst>
            <pc:docMk/>
            <pc:sldMk cId="3901137987" sldId="1177"/>
            <ac:spMk id="10" creationId="{088B9B9A-5828-3E64-4C2D-F17FFE92865B}"/>
          </ac:spMkLst>
        </pc:spChg>
        <pc:spChg chg="del mod">
          <ac:chgData name="Otavio Augusto Sabia Gava" userId="68ac195b-011b-467c-86d4-321df89323d0" providerId="ADAL" clId="{0C687AD9-2800-41E2-AA69-D02ABC7EDD76}" dt="2023-11-13T12:15:41.880" v="198"/>
          <ac:spMkLst>
            <pc:docMk/>
            <pc:sldMk cId="3901137987" sldId="1177"/>
            <ac:spMk id="15" creationId="{9FCE2C2C-DD7C-42FD-AD2A-9C64AF640AAF}"/>
          </ac:spMkLst>
        </pc:spChg>
        <pc:spChg chg="mod">
          <ac:chgData name="Otavio Augusto Sabia Gava" userId="68ac195b-011b-467c-86d4-321df89323d0" providerId="ADAL" clId="{0C687AD9-2800-41E2-AA69-D02ABC7EDD76}" dt="2024-02-01T17:58:34.683" v="30639"/>
          <ac:spMkLst>
            <pc:docMk/>
            <pc:sldMk cId="3901137987" sldId="1177"/>
            <ac:spMk id="16" creationId="{C4F6D077-C44F-4E99-A22B-D33CE2C3E796}"/>
          </ac:spMkLst>
        </pc:spChg>
        <pc:spChg chg="del mod">
          <ac:chgData name="Otavio Augusto Sabia Gava" userId="68ac195b-011b-467c-86d4-321df89323d0" providerId="ADAL" clId="{0C687AD9-2800-41E2-AA69-D02ABC7EDD76}" dt="2023-11-13T12:16:04.821" v="204" actId="478"/>
          <ac:spMkLst>
            <pc:docMk/>
            <pc:sldMk cId="3901137987" sldId="1177"/>
            <ac:spMk id="17" creationId="{8C399D83-E4A4-4DE2-8ADD-A6EE915E1CB0}"/>
          </ac:spMkLst>
        </pc:spChg>
        <pc:spChg chg="mod">
          <ac:chgData name="Otavio Augusto Sabia Gava" userId="68ac195b-011b-467c-86d4-321df89323d0" providerId="ADAL" clId="{0C687AD9-2800-41E2-AA69-D02ABC7EDD76}" dt="2024-02-01T17:59:13.751" v="30643"/>
          <ac:spMkLst>
            <pc:docMk/>
            <pc:sldMk cId="3901137987" sldId="1177"/>
            <ac:spMk id="18" creationId="{5235F81D-83B0-4D59-BB7C-D3536EF1F261}"/>
          </ac:spMkLst>
        </pc:spChg>
        <pc:spChg chg="mod">
          <ac:chgData name="Otavio Augusto Sabia Gava" userId="68ac195b-011b-467c-86d4-321df89323d0" providerId="ADAL" clId="{0C687AD9-2800-41E2-AA69-D02ABC7EDD76}" dt="2024-02-01T17:59:56.650" v="30647"/>
          <ac:spMkLst>
            <pc:docMk/>
            <pc:sldMk cId="3901137987" sldId="1177"/>
            <ac:spMk id="19" creationId="{E0E00909-739E-41E3-95A0-7B601FB27947}"/>
          </ac:spMkLst>
        </pc:spChg>
        <pc:spChg chg="mod">
          <ac:chgData name="Otavio Augusto Sabia Gava" userId="68ac195b-011b-467c-86d4-321df89323d0" providerId="ADAL" clId="{0C687AD9-2800-41E2-AA69-D02ABC7EDD76}" dt="2024-02-01T17:59:48.283" v="30646"/>
          <ac:spMkLst>
            <pc:docMk/>
            <pc:sldMk cId="3901137987" sldId="1177"/>
            <ac:spMk id="21" creationId="{09573A00-8736-4F65-A53E-C0A638056DE6}"/>
          </ac:spMkLst>
        </pc:spChg>
      </pc:sldChg>
      <pc:sldChg chg="modNotesTx">
        <pc:chgData name="Otavio Augusto Sabia Gava" userId="68ac195b-011b-467c-86d4-321df89323d0" providerId="ADAL" clId="{0C687AD9-2800-41E2-AA69-D02ABC7EDD76}" dt="2023-11-20T02:35:57.744" v="2927" actId="20577"/>
        <pc:sldMkLst>
          <pc:docMk/>
          <pc:sldMk cId="2602063549" sldId="1178"/>
        </pc:sldMkLst>
      </pc:sldChg>
      <pc:sldChg chg="addSp delSp modSp mod modNotesTx">
        <pc:chgData name="Otavio Augusto Sabia Gava" userId="68ac195b-011b-467c-86d4-321df89323d0" providerId="ADAL" clId="{0C687AD9-2800-41E2-AA69-D02ABC7EDD76}" dt="2023-11-23T13:36:54.491" v="16988"/>
        <pc:sldMkLst>
          <pc:docMk/>
          <pc:sldMk cId="850326295" sldId="1179"/>
        </pc:sldMkLst>
        <pc:spChg chg="mod">
          <ac:chgData name="Otavio Augusto Sabia Gava" userId="68ac195b-011b-467c-86d4-321df89323d0" providerId="ADAL" clId="{0C687AD9-2800-41E2-AA69-D02ABC7EDD76}" dt="2023-11-20T13:23:48.692" v="4163" actId="1076"/>
          <ac:spMkLst>
            <pc:docMk/>
            <pc:sldMk cId="850326295" sldId="1179"/>
            <ac:spMk id="3" creationId="{F77AF5BC-EFBA-440A-5FFC-D720DCFCD258}"/>
          </ac:spMkLst>
        </pc:spChg>
        <pc:spChg chg="mod">
          <ac:chgData name="Otavio Augusto Sabia Gava" userId="68ac195b-011b-467c-86d4-321df89323d0" providerId="ADAL" clId="{0C687AD9-2800-41E2-AA69-D02ABC7EDD76}" dt="2023-11-13T19:43:54.233" v="1065" actId="1038"/>
          <ac:spMkLst>
            <pc:docMk/>
            <pc:sldMk cId="850326295" sldId="1179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0T13:23:46.246" v="4161" actId="207"/>
          <ac:spMkLst>
            <pc:docMk/>
            <pc:sldMk cId="850326295" sldId="1179"/>
            <ac:spMk id="8" creationId="{5830A6D6-EB8D-089F-C9DD-67EF13A9F4D7}"/>
          </ac:spMkLst>
        </pc:spChg>
        <pc:spChg chg="mod">
          <ac:chgData name="Otavio Augusto Sabia Gava" userId="68ac195b-011b-467c-86d4-321df89323d0" providerId="ADAL" clId="{0C687AD9-2800-41E2-AA69-D02ABC7EDD76}" dt="2023-11-20T13:23:46.246" v="4161" actId="207"/>
          <ac:spMkLst>
            <pc:docMk/>
            <pc:sldMk cId="850326295" sldId="1179"/>
            <ac:spMk id="10" creationId="{631584B4-875C-5638-73A5-257C33B08C58}"/>
          </ac:spMkLst>
        </pc:spChg>
        <pc:spChg chg="mod">
          <ac:chgData name="Otavio Augusto Sabia Gava" userId="68ac195b-011b-467c-86d4-321df89323d0" providerId="ADAL" clId="{0C687AD9-2800-41E2-AA69-D02ABC7EDD76}" dt="2023-11-20T13:23:46.246" v="4161" actId="207"/>
          <ac:spMkLst>
            <pc:docMk/>
            <pc:sldMk cId="850326295" sldId="1179"/>
            <ac:spMk id="12" creationId="{29CA44F6-AE19-6E8C-DAE9-49EE05CF4BC5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4" creationId="{372BA7A7-A833-343E-3D30-F78FCD044454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5" creationId="{ACFCB731-3809-43AB-E79E-CFA4F8CC7B1C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6" creationId="{CDB50F55-990B-F0A0-2D46-983955A9178C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7" creationId="{6191B3D9-6BEE-FC1D-2961-B08F0D6CD07D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8" creationId="{E4ADD070-DEF2-5CAA-DCFC-1F50F7329EDE}"/>
          </ac:spMkLst>
        </pc:spChg>
        <pc:spChg chg="mod">
          <ac:chgData name="Otavio Augusto Sabia Gava" userId="68ac195b-011b-467c-86d4-321df89323d0" providerId="ADAL" clId="{0C687AD9-2800-41E2-AA69-D02ABC7EDD76}" dt="2023-11-20T13:24:22.608" v="4170" actId="208"/>
          <ac:spMkLst>
            <pc:docMk/>
            <pc:sldMk cId="850326295" sldId="1179"/>
            <ac:spMk id="19" creationId="{E67CD68A-8910-829F-B65B-779BCBEB87DC}"/>
          </ac:spMkLst>
        </pc:spChg>
        <pc:spChg chg="mod">
          <ac:chgData name="Otavio Augusto Sabia Gava" userId="68ac195b-011b-467c-86d4-321df89323d0" providerId="ADAL" clId="{0C687AD9-2800-41E2-AA69-D02ABC7EDD76}" dt="2023-11-20T13:25:36.574" v="4187" actId="403"/>
          <ac:spMkLst>
            <pc:docMk/>
            <pc:sldMk cId="850326295" sldId="1179"/>
            <ac:spMk id="21" creationId="{6B8489AB-2A95-CF58-4E5E-AC7DB6148B42}"/>
          </ac:spMkLst>
        </pc:spChg>
        <pc:spChg chg="mod">
          <ac:chgData name="Otavio Augusto Sabia Gava" userId="68ac195b-011b-467c-86d4-321df89323d0" providerId="ADAL" clId="{0C687AD9-2800-41E2-AA69-D02ABC7EDD76}" dt="2023-11-20T13:25:38.531" v="4188" actId="403"/>
          <ac:spMkLst>
            <pc:docMk/>
            <pc:sldMk cId="850326295" sldId="1179"/>
            <ac:spMk id="22" creationId="{1242D27C-6D11-AF3A-05DE-C74C6C72E549}"/>
          </ac:spMkLst>
        </pc:spChg>
        <pc:picChg chg="add mod">
          <ac:chgData name="Otavio Augusto Sabia Gava" userId="68ac195b-011b-467c-86d4-321df89323d0" providerId="ADAL" clId="{0C687AD9-2800-41E2-AA69-D02ABC7EDD76}" dt="2023-11-23T13:36:44.926" v="16987"/>
          <ac:picMkLst>
            <pc:docMk/>
            <pc:sldMk cId="850326295" sldId="1179"/>
            <ac:picMk id="2" creationId="{CEF35391-9441-A3EA-86D1-1B9D6ED2FEF1}"/>
          </ac:picMkLst>
        </pc:picChg>
        <pc:picChg chg="add mod">
          <ac:chgData name="Otavio Augusto Sabia Gava" userId="68ac195b-011b-467c-86d4-321df89323d0" providerId="ADAL" clId="{0C687AD9-2800-41E2-AA69-D02ABC7EDD76}" dt="2023-11-23T13:36:54.491" v="16988"/>
          <ac:picMkLst>
            <pc:docMk/>
            <pc:sldMk cId="850326295" sldId="1179"/>
            <ac:picMk id="4" creationId="{94D8DB6B-A7E1-5611-5C1D-0A5253BF4988}"/>
          </ac:picMkLst>
        </pc:picChg>
        <pc:picChg chg="del">
          <ac:chgData name="Otavio Augusto Sabia Gava" userId="68ac195b-011b-467c-86d4-321df89323d0" providerId="ADAL" clId="{0C687AD9-2800-41E2-AA69-D02ABC7EDD76}" dt="2023-11-20T13:15:13.878" v="4114" actId="478"/>
          <ac:picMkLst>
            <pc:docMk/>
            <pc:sldMk cId="850326295" sldId="1179"/>
            <ac:picMk id="26" creationId="{0DA69FC0-0E93-487D-B36D-1195270BC239}"/>
          </ac:picMkLst>
        </pc:picChg>
        <pc:picChg chg="del">
          <ac:chgData name="Otavio Augusto Sabia Gava" userId="68ac195b-011b-467c-86d4-321df89323d0" providerId="ADAL" clId="{0C687AD9-2800-41E2-AA69-D02ABC7EDD76}" dt="2023-11-13T20:58:33.082" v="1492" actId="478"/>
          <ac:picMkLst>
            <pc:docMk/>
            <pc:sldMk cId="850326295" sldId="1179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8:33.082" v="1492" actId="478"/>
          <ac:picMkLst>
            <pc:docMk/>
            <pc:sldMk cId="850326295" sldId="1179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13.969" v="2934" actId="20577"/>
        <pc:sldMkLst>
          <pc:docMk/>
          <pc:sldMk cId="881352458" sldId="1180"/>
        </pc:sldMkLst>
        <pc:spChg chg="mod">
          <ac:chgData name="Otavio Augusto Sabia Gava" userId="68ac195b-011b-467c-86d4-321df89323d0" providerId="ADAL" clId="{0C687AD9-2800-41E2-AA69-D02ABC7EDD76}" dt="2023-11-13T14:49:34.541" v="537"/>
          <ac:spMkLst>
            <pc:docMk/>
            <pc:sldMk cId="881352458" sldId="1180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0" creationId="{EE04C3BF-3CA7-E12E-0496-82D8B4F12FE5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1" creationId="{4B7FF0DA-8503-00B4-D159-C7D100B1ED24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3" creationId="{111C0D21-7274-C4E6-9690-E57A1FBFF7D8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5" creationId="{05063E4A-F8F4-4B15-180A-4FD1FBF53C2C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6" creationId="{E28BE758-BAF4-0718-77CC-C953C405C853}"/>
          </ac:spMkLst>
        </pc:spChg>
        <pc:spChg chg="del">
          <ac:chgData name="Otavio Augusto Sabia Gava" userId="68ac195b-011b-467c-86d4-321df89323d0" providerId="ADAL" clId="{0C687AD9-2800-41E2-AA69-D02ABC7EDD76}" dt="2023-11-13T20:20:46.726" v="1207" actId="478"/>
          <ac:spMkLst>
            <pc:docMk/>
            <pc:sldMk cId="881352458" sldId="1180"/>
            <ac:spMk id="87" creationId="{1C39B1AC-7221-AE3A-A8CB-5E751C6C4700}"/>
          </ac:spMkLst>
        </pc:spChg>
        <pc:picChg chg="del">
          <ac:chgData name="Otavio Augusto Sabia Gava" userId="68ac195b-011b-467c-86d4-321df89323d0" providerId="ADAL" clId="{0C687AD9-2800-41E2-AA69-D02ABC7EDD76}" dt="2023-11-13T20:56:58.882" v="1459" actId="478"/>
          <ac:picMkLst>
            <pc:docMk/>
            <pc:sldMk cId="881352458" sldId="1180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6:58.882" v="1459" actId="478"/>
          <ac:picMkLst>
            <pc:docMk/>
            <pc:sldMk cId="881352458" sldId="1180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12.048" v="2933" actId="20577"/>
        <pc:sldMkLst>
          <pc:docMk/>
          <pc:sldMk cId="2302430854" sldId="1181"/>
        </pc:sldMkLst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2" creationId="{07C24776-7211-CE6F-FA45-A456B3226049}"/>
          </ac:spMkLst>
        </pc:spChg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3" creationId="{C37B25D7-ADB7-37A6-17C7-6720107A6725}"/>
          </ac:spMkLst>
        </pc:spChg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4" creationId="{479C4311-0449-D701-29E3-14013537C683}"/>
          </ac:spMkLst>
        </pc:spChg>
        <pc:spChg chg="mod">
          <ac:chgData name="Otavio Augusto Sabia Gava" userId="68ac195b-011b-467c-86d4-321df89323d0" providerId="ADAL" clId="{0C687AD9-2800-41E2-AA69-D02ABC7EDD76}" dt="2023-11-13T14:49:39.009" v="538"/>
          <ac:spMkLst>
            <pc:docMk/>
            <pc:sldMk cId="2302430854" sldId="1181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6" creationId="{2B69151A-D3A7-A621-CDFB-2ED423F30B20}"/>
          </ac:spMkLst>
        </pc:spChg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7" creationId="{06DBF723-1AE4-1C26-3858-9989146C734A}"/>
          </ac:spMkLst>
        </pc:spChg>
        <pc:spChg chg="del">
          <ac:chgData name="Otavio Augusto Sabia Gava" userId="68ac195b-011b-467c-86d4-321df89323d0" providerId="ADAL" clId="{0C687AD9-2800-41E2-AA69-D02ABC7EDD76}" dt="2023-11-13T20:20:49.593" v="1208" actId="478"/>
          <ac:spMkLst>
            <pc:docMk/>
            <pc:sldMk cId="2302430854" sldId="1181"/>
            <ac:spMk id="8" creationId="{D05304CB-4CFD-EC8A-B7C2-9733018FFAB2}"/>
          </ac:spMkLst>
        </pc:spChg>
        <pc:picChg chg="del">
          <ac:chgData name="Otavio Augusto Sabia Gava" userId="68ac195b-011b-467c-86d4-321df89323d0" providerId="ADAL" clId="{0C687AD9-2800-41E2-AA69-D02ABC7EDD76}" dt="2023-11-13T20:57:00.895" v="1460" actId="478"/>
          <ac:picMkLst>
            <pc:docMk/>
            <pc:sldMk cId="2302430854" sldId="1181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00.895" v="1460" actId="478"/>
          <ac:picMkLst>
            <pc:docMk/>
            <pc:sldMk cId="2302430854" sldId="1181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16.240" v="2935" actId="20577"/>
        <pc:sldMkLst>
          <pc:docMk/>
          <pc:sldMk cId="1751228654" sldId="1182"/>
        </pc:sldMkLst>
        <pc:spChg chg="mod">
          <ac:chgData name="Otavio Augusto Sabia Gava" userId="68ac195b-011b-467c-86d4-321df89323d0" providerId="ADAL" clId="{0C687AD9-2800-41E2-AA69-D02ABC7EDD76}" dt="2023-11-13T14:49:29.537" v="536"/>
          <ac:spMkLst>
            <pc:docMk/>
            <pc:sldMk cId="1751228654" sldId="1182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11" creationId="{2A5F3DB3-5C13-A242-BD0A-80AE708245CD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12" creationId="{30224352-EEAC-AA77-9914-3E114E291271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85" creationId="{09C57133-C84E-3A62-F556-A7959ACC31D0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86" creationId="{B946A321-6D9A-E965-DDA4-5B56845A9359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105" creationId="{366B1810-C021-4D3E-B5E4-464D094286C1}"/>
          </ac:spMkLst>
        </pc:spChg>
        <pc:spChg chg="del">
          <ac:chgData name="Otavio Augusto Sabia Gava" userId="68ac195b-011b-467c-86d4-321df89323d0" providerId="ADAL" clId="{0C687AD9-2800-41E2-AA69-D02ABC7EDD76}" dt="2023-11-13T20:20:44.382" v="1206" actId="478"/>
          <ac:spMkLst>
            <pc:docMk/>
            <pc:sldMk cId="1751228654" sldId="1182"/>
            <ac:spMk id="106" creationId="{69183841-E768-E88A-433A-316CC4344CA0}"/>
          </ac:spMkLst>
        </pc:spChg>
        <pc:picChg chg="del">
          <ac:chgData name="Otavio Augusto Sabia Gava" userId="68ac195b-011b-467c-86d4-321df89323d0" providerId="ADAL" clId="{0C687AD9-2800-41E2-AA69-D02ABC7EDD76}" dt="2023-11-13T20:56:57.041" v="1458" actId="478"/>
          <ac:picMkLst>
            <pc:docMk/>
            <pc:sldMk cId="1751228654" sldId="1182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6:57.041" v="1458" actId="478"/>
          <ac:picMkLst>
            <pc:docMk/>
            <pc:sldMk cId="1751228654" sldId="1182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10.266" v="2932" actId="20577"/>
        <pc:sldMkLst>
          <pc:docMk/>
          <pc:sldMk cId="2996781954" sldId="1183"/>
        </pc:sldMkLst>
        <pc:spChg chg="mod">
          <ac:chgData name="Otavio Augusto Sabia Gava" userId="68ac195b-011b-467c-86d4-321df89323d0" providerId="ADAL" clId="{0C687AD9-2800-41E2-AA69-D02ABC7EDD76}" dt="2023-11-13T14:49:43.263" v="539"/>
          <ac:spMkLst>
            <pc:docMk/>
            <pc:sldMk cId="2996781954" sldId="1183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4" creationId="{08998405-FB70-0E9B-3EE9-F41476EA333A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5" creationId="{D55041E0-8D7B-2D8D-05CD-F7F7515959E3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6" creationId="{6A6D7B3E-2CD3-4CFE-5B18-C9D0D2071741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7" creationId="{48F48006-9D1C-0EE7-7138-E72BCB96D81B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8" creationId="{85F3033F-BA0E-2DC2-07DB-D20B488698BF}"/>
          </ac:spMkLst>
        </pc:spChg>
        <pc:spChg chg="del">
          <ac:chgData name="Otavio Augusto Sabia Gava" userId="68ac195b-011b-467c-86d4-321df89323d0" providerId="ADAL" clId="{0C687AD9-2800-41E2-AA69-D02ABC7EDD76}" dt="2023-11-13T20:20:51.983" v="1209" actId="478"/>
          <ac:spMkLst>
            <pc:docMk/>
            <pc:sldMk cId="2996781954" sldId="1183"/>
            <ac:spMk id="79" creationId="{1D698807-DDBF-451D-63C6-7DA75BF5A606}"/>
          </ac:spMkLst>
        </pc:spChg>
        <pc:picChg chg="del">
          <ac:chgData name="Otavio Augusto Sabia Gava" userId="68ac195b-011b-467c-86d4-321df89323d0" providerId="ADAL" clId="{0C687AD9-2800-41E2-AA69-D02ABC7EDD76}" dt="2023-11-13T20:57:03.187" v="1461" actId="478"/>
          <ac:picMkLst>
            <pc:docMk/>
            <pc:sldMk cId="2996781954" sldId="1183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03.187" v="1461" actId="478"/>
          <ac:picMkLst>
            <pc:docMk/>
            <pc:sldMk cId="2996781954" sldId="1183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08.523" v="2931" actId="20577"/>
        <pc:sldMkLst>
          <pc:docMk/>
          <pc:sldMk cId="179159656" sldId="1184"/>
        </pc:sldMkLst>
        <pc:spChg chg="mod">
          <ac:chgData name="Otavio Augusto Sabia Gava" userId="68ac195b-011b-467c-86d4-321df89323d0" providerId="ADAL" clId="{0C687AD9-2800-41E2-AA69-D02ABC7EDD76}" dt="2023-11-13T14:49:47.514" v="540"/>
          <ac:spMkLst>
            <pc:docMk/>
            <pc:sldMk cId="179159656" sldId="1184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3" creationId="{BFE17C53-6B4B-8025-BB80-EDB0DA5106B0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4" creationId="{3370EC7A-98B2-214E-7A8C-F69411643296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5" creationId="{1ACDF741-772B-81E5-EA80-97FBE7551459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6" creationId="{EC49E0D9-5D7C-87F7-A5F5-370872F4544F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7" creationId="{73138B71-1CB9-DD0C-9FBE-AF756E56808C}"/>
          </ac:spMkLst>
        </pc:spChg>
        <pc:spChg chg="del">
          <ac:chgData name="Otavio Augusto Sabia Gava" userId="68ac195b-011b-467c-86d4-321df89323d0" providerId="ADAL" clId="{0C687AD9-2800-41E2-AA69-D02ABC7EDD76}" dt="2023-11-13T20:20:55" v="1210" actId="478"/>
          <ac:spMkLst>
            <pc:docMk/>
            <pc:sldMk cId="179159656" sldId="1184"/>
            <ac:spMk id="68" creationId="{C8944729-A26A-1205-AD70-FFD62F672FE9}"/>
          </ac:spMkLst>
        </pc:spChg>
        <pc:picChg chg="del">
          <ac:chgData name="Otavio Augusto Sabia Gava" userId="68ac195b-011b-467c-86d4-321df89323d0" providerId="ADAL" clId="{0C687AD9-2800-41E2-AA69-D02ABC7EDD76}" dt="2023-11-13T20:57:05.028" v="1462" actId="478"/>
          <ac:picMkLst>
            <pc:docMk/>
            <pc:sldMk cId="179159656" sldId="1184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05.028" v="1462" actId="478"/>
          <ac:picMkLst>
            <pc:docMk/>
            <pc:sldMk cId="179159656" sldId="1184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06.203" v="2930" actId="20577"/>
        <pc:sldMkLst>
          <pc:docMk/>
          <pc:sldMk cId="4084968575" sldId="1185"/>
        </pc:sldMkLst>
        <pc:spChg chg="mod">
          <ac:chgData name="Otavio Augusto Sabia Gava" userId="68ac195b-011b-467c-86d4-321df89323d0" providerId="ADAL" clId="{0C687AD9-2800-41E2-AA69-D02ABC7EDD76}" dt="2023-11-13T14:49:50.910" v="541"/>
          <ac:spMkLst>
            <pc:docMk/>
            <pc:sldMk cId="4084968575" sldId="1185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1" creationId="{04630F65-AE22-E0E8-E35E-65CDA364D995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2" creationId="{C6E42008-AB20-3CF8-7FA9-53B53C7D2DEE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3" creationId="{0967114A-047D-CF1D-9EB7-45CF69A5DBA6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4" creationId="{471A2F64-F548-C315-3347-8461C8534D27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5" creationId="{2A0B2A8B-1E98-F535-FB04-D081EA4AE976}"/>
          </ac:spMkLst>
        </pc:spChg>
        <pc:spChg chg="del">
          <ac:chgData name="Otavio Augusto Sabia Gava" userId="68ac195b-011b-467c-86d4-321df89323d0" providerId="ADAL" clId="{0C687AD9-2800-41E2-AA69-D02ABC7EDD76}" dt="2023-11-13T20:20:57.375" v="1211" actId="478"/>
          <ac:spMkLst>
            <pc:docMk/>
            <pc:sldMk cId="4084968575" sldId="1185"/>
            <ac:spMk id="66" creationId="{F0A3D879-DCFE-484F-FF13-AB694A71E200}"/>
          </ac:spMkLst>
        </pc:spChg>
        <pc:picChg chg="del">
          <ac:chgData name="Otavio Augusto Sabia Gava" userId="68ac195b-011b-467c-86d4-321df89323d0" providerId="ADAL" clId="{0C687AD9-2800-41E2-AA69-D02ABC7EDD76}" dt="2023-11-13T20:57:08.097" v="1463" actId="478"/>
          <ac:picMkLst>
            <pc:docMk/>
            <pc:sldMk cId="4084968575" sldId="1185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08.097" v="1463" actId="478"/>
          <ac:picMkLst>
            <pc:docMk/>
            <pc:sldMk cId="4084968575" sldId="1185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01.406" v="2928" actId="20577"/>
        <pc:sldMkLst>
          <pc:docMk/>
          <pc:sldMk cId="1793372239" sldId="1186"/>
        </pc:sldMkLst>
        <pc:spChg chg="mod">
          <ac:chgData name="Otavio Augusto Sabia Gava" userId="68ac195b-011b-467c-86d4-321df89323d0" providerId="ADAL" clId="{0C687AD9-2800-41E2-AA69-D02ABC7EDD76}" dt="2023-11-13T14:50:01.687" v="543"/>
          <ac:spMkLst>
            <pc:docMk/>
            <pc:sldMk cId="1793372239" sldId="1186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76" creationId="{1BF1A151-DBE9-0C34-BD84-87473970634D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77" creationId="{B4FD97A5-1D87-2875-99DE-77A4CE2FF456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78" creationId="{1A98B181-2551-46E2-4554-3EE920EFA91F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79" creationId="{EB5ADA4D-C6CD-25C9-B528-EF2A48A07CBB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80" creationId="{3BEFA3B9-4825-E46E-E594-7B4E28163F54}"/>
          </ac:spMkLst>
        </pc:spChg>
        <pc:spChg chg="del">
          <ac:chgData name="Otavio Augusto Sabia Gava" userId="68ac195b-011b-467c-86d4-321df89323d0" providerId="ADAL" clId="{0C687AD9-2800-41E2-AA69-D02ABC7EDD76}" dt="2023-11-13T20:21:04.718" v="1213" actId="478"/>
          <ac:spMkLst>
            <pc:docMk/>
            <pc:sldMk cId="1793372239" sldId="1186"/>
            <ac:spMk id="81" creationId="{27D3C984-A81F-B7E9-02D5-B1DA57152C36}"/>
          </ac:spMkLst>
        </pc:spChg>
        <pc:picChg chg="del">
          <ac:chgData name="Otavio Augusto Sabia Gava" userId="68ac195b-011b-467c-86d4-321df89323d0" providerId="ADAL" clId="{0C687AD9-2800-41E2-AA69-D02ABC7EDD76}" dt="2023-11-13T20:57:12.555" v="1465" actId="478"/>
          <ac:picMkLst>
            <pc:docMk/>
            <pc:sldMk cId="1793372239" sldId="1186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12.555" v="1465" actId="478"/>
          <ac:picMkLst>
            <pc:docMk/>
            <pc:sldMk cId="1793372239" sldId="1186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02:36:03.937" v="2929" actId="20577"/>
        <pc:sldMkLst>
          <pc:docMk/>
          <pc:sldMk cId="1869207283" sldId="1188"/>
        </pc:sldMkLst>
        <pc:spChg chg="mod">
          <ac:chgData name="Otavio Augusto Sabia Gava" userId="68ac195b-011b-467c-86d4-321df89323d0" providerId="ADAL" clId="{0C687AD9-2800-41E2-AA69-D02ABC7EDD76}" dt="2023-11-13T14:49:55.785" v="542"/>
          <ac:spMkLst>
            <pc:docMk/>
            <pc:sldMk cId="1869207283" sldId="1188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7" creationId="{D1404B8D-BD6F-8758-23CE-8DEE1A7EBAB0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8" creationId="{4C27F33E-ADF7-6610-53C8-83F7CF354FB9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37" creationId="{34776B99-CFED-08C3-4240-9C74F3AF4305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38" creationId="{A613301A-9CFC-D3D0-3FC1-CF9F72000EA1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80" creationId="{A559B599-611E-304F-FF2C-43B0A27DDA16}"/>
          </ac:spMkLst>
        </pc:spChg>
        <pc:spChg chg="del">
          <ac:chgData name="Otavio Augusto Sabia Gava" userId="68ac195b-011b-467c-86d4-321df89323d0" providerId="ADAL" clId="{0C687AD9-2800-41E2-AA69-D02ABC7EDD76}" dt="2023-11-13T20:21:02.050" v="1212" actId="478"/>
          <ac:spMkLst>
            <pc:docMk/>
            <pc:sldMk cId="1869207283" sldId="1188"/>
            <ac:spMk id="81" creationId="{947F2B9D-DE84-D7C0-1549-768B79FB05E9}"/>
          </ac:spMkLst>
        </pc:spChg>
        <pc:picChg chg="del">
          <ac:chgData name="Otavio Augusto Sabia Gava" userId="68ac195b-011b-467c-86d4-321df89323d0" providerId="ADAL" clId="{0C687AD9-2800-41E2-AA69-D02ABC7EDD76}" dt="2023-11-13T20:57:10.518" v="1464" actId="478"/>
          <ac:picMkLst>
            <pc:docMk/>
            <pc:sldMk cId="1869207283" sldId="1188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7:10.518" v="1464" actId="478"/>
          <ac:picMkLst>
            <pc:docMk/>
            <pc:sldMk cId="1869207283" sldId="1188"/>
            <ac:picMk id="84" creationId="{01FCA192-1C75-43C5-85B5-0733B25DD09B}"/>
          </ac:picMkLst>
        </pc:picChg>
      </pc:sldChg>
      <pc:sldChg chg="delSp modSp add mod modShow modNotesTx">
        <pc:chgData name="Otavio Augusto Sabia Gava" userId="68ac195b-011b-467c-86d4-321df89323d0" providerId="ADAL" clId="{0C687AD9-2800-41E2-AA69-D02ABC7EDD76}" dt="2023-11-20T13:28:34.682" v="4214" actId="729"/>
        <pc:sldMkLst>
          <pc:docMk/>
          <pc:sldMk cId="4122750126" sldId="1189"/>
        </pc:sldMkLst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" creationId="{4661A1A9-D6E3-15AF-3CEC-84767F3C8C1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3" creationId="{81A2C514-BC90-8229-BF12-550871F7DB06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4" creationId="{1F073EA6-0F71-FAF1-68C1-EFCE941DBD6E}"/>
          </ac:spMkLst>
        </pc:spChg>
        <pc:spChg chg="mod">
          <ac:chgData name="Otavio Augusto Sabia Gava" userId="68ac195b-011b-467c-86d4-321df89323d0" providerId="ADAL" clId="{0C687AD9-2800-41E2-AA69-D02ABC7EDD76}" dt="2023-11-13T14:12:55.489" v="481" actId="20577"/>
          <ac:spMkLst>
            <pc:docMk/>
            <pc:sldMk cId="4122750126" sldId="1189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6" creationId="{BB4B51E2-2B1C-D3F7-9ECE-22234FDAB9D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7" creationId="{3B85B9A5-AA2E-4F5E-89B5-EC9270FCF56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8" creationId="{A7514F02-D7A1-6DF0-06BE-6D4DC3759D6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9" creationId="{2E793103-A83E-5009-4826-934CA0C7F9A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0" creationId="{E4D68EAC-CEEE-D5D9-AE02-15E65402A52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1" creationId="{E82D8C70-E630-66A4-1C8B-7E9E3BA86DE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2" creationId="{44FFBF7C-DED4-5459-AA3E-1D0657F9ED8F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3" creationId="{E2B69A0D-A6EC-5FF9-CDD1-C25B7D7D34C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4" creationId="{9E00B389-B829-218F-74CB-32E94BF5B1E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5" creationId="{4B76520D-74C5-8CCF-952E-EE67C4B86AA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6" creationId="{0D59540A-8CBD-9958-9F8B-8DFA6C531F0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" creationId="{C758C707-BCB8-28DE-8E56-30FFDD7C628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" creationId="{DBBC9D84-06D4-926A-0637-39FC2AEB955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" creationId="{51F0C577-952B-FCED-D356-EE72247C3C4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" creationId="{7532A551-7F93-FE45-3667-8D914E48557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75" creationId="{C6B6693C-82D2-3F8A-8CD9-444E9F586D0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83" creationId="{C9910837-A008-C407-35B3-2C4CCEDCE02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91" creationId="{5DBA1FE9-3648-0C8B-1849-3B3D98570EE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92" creationId="{443E0A02-8C6F-8608-14FC-7074D13AB53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95" creationId="{1687F1DB-03E0-8DEE-F919-F0292DB2B206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66" creationId="{FB402B0F-11F5-70D3-2D8B-15B01C13888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67" creationId="{528F059C-21FB-C54B-6666-0377DAF8C84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0" creationId="{08D36B7A-9CB2-9BBC-CA1B-CDC540A4E8F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1" creationId="{886418B3-BD35-19EF-2F82-46BA5927135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2" creationId="{CEA8A0C9-9AE9-42EE-9A0E-8DAAFE4555F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3" creationId="{61FB64BE-0683-11C4-20A5-65B42D82EB06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4" creationId="{EE8BA279-813A-8AFB-FFD6-B2FD1AB7FA6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5" creationId="{C1CFFF8F-D639-7279-9DD3-09A0BAF948E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6" creationId="{74C6963D-CD51-539E-C0AE-58A3A062AEE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77" creationId="{A08D36D3-D144-7306-4215-3ABD1E69B40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2" creationId="{424BF416-FC14-1946-7E04-08EBDCFD118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3" creationId="{FB3E6D25-5FC6-0AC7-FAEB-E09A1AEF954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4" creationId="{C1841CD7-51E8-286A-CD0C-09C497DA0162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5" creationId="{317DEBB3-CE5A-A991-B54F-34C6BA8D41DB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8" creationId="{C9D268D0-9AB3-7882-7BEA-622AFABCAC5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89" creationId="{81A32215-9804-9925-853E-4EB9E868C52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0" creationId="{DF01865A-82A9-3E52-CB3F-44E3E62ED312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1" creationId="{C4C2EBC0-95F6-EB12-7C3A-8C30DBDBC7B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2" creationId="{90D07F6B-4BD9-2D1E-D0EF-18CD2506179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3" creationId="{F6DE5BBC-43D2-D0DC-CF5B-9D4216A5B9F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4" creationId="{2F752021-78CA-8352-955F-F1720882B112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5" creationId="{132D786D-0FB9-0FF9-11C7-43CCD96A281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6" creationId="{77CDB4EC-BC36-0F65-EBFD-7BECC38752BB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7" creationId="{F1931D87-169A-2D7C-81E6-2FA76D88910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8" creationId="{59B022DE-726B-D919-2274-AE168A6DF70F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199" creationId="{C45C052C-B5F4-1CBE-6D08-71733771476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0" creationId="{403BB8D9-DA91-EB30-77B4-223953213F1F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1" creationId="{A3A87374-0A00-E027-8507-F24DE25263C6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2" creationId="{D64A13EE-FEBA-3F3C-6B1A-1319F813D96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3" creationId="{DDD18BBC-357D-1907-BB41-4D8D9272A182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4" creationId="{B0AA64E5-9567-B30E-3D46-9917E4EE9B5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5" creationId="{21185CD0-8362-23DD-74E4-1E9528FED84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6" creationId="{19598632-2DFC-3ADF-D780-6A38E98FC01F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7" creationId="{6BC23C55-2D4D-3FB8-CA22-B94F9302239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8" creationId="{BB9B68CF-1804-5C0A-2265-109B3826233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09" creationId="{01B67D59-99BE-B037-B739-89C37D86D8A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0" creationId="{39C299F8-B4D8-E6F2-B7A5-65639D713F5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1" creationId="{4D9ED9C7-5776-3306-35C8-CD400821AEF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2" creationId="{C93F9A7C-1FCE-5EFA-7EE1-DF019CC68B7B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3" creationId="{EE4E844C-8F98-DAF5-FED6-63A8D64D4C1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4" creationId="{DB4711A5-B6CB-26A9-4DEB-52FC524EE5B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5" creationId="{72866E71-142C-5C50-D625-DE7CBB400B0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6" creationId="{6DF018C7-AF5B-AFBF-FCEE-CE55318C260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17" creationId="{58652E94-92DF-003C-622D-C470FAA9C4D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4" creationId="{60587B41-4E19-7B6E-F1A1-AEB72BF3E88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5" creationId="{92DFED4E-B575-0BE7-10AB-6460F288C1F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6" creationId="{7EB2D6D0-BF97-BDE3-217F-28BB4F480B1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7" creationId="{D842F47C-0FC1-ACF6-6364-DA98AD6328D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8" creationId="{4EE0F632-CB59-023D-96B5-954A6416029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29" creationId="{1708C1FD-D11C-753C-D310-666492B7EBF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0" creationId="{24D26801-DE57-2F24-2050-B7402B5FCD0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1" creationId="{BCD6EF36-BDC2-84B6-749D-A4E7AF6613AF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2" creationId="{05F423CD-A6F8-722A-4A16-5E250D60CD4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3" creationId="{79FD6781-A218-F5FD-5437-3C04AA41BEE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4" creationId="{452DB418-22B5-3DC9-4696-19142DF47ED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5" creationId="{07E948BE-A947-7F98-227D-5F8207D8E331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6" creationId="{D4277CF7-0E70-E9B3-0788-0DF819C29C4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7" creationId="{F249C1EB-2005-4643-5CDC-11119DC9D1B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8" creationId="{ACD350A7-A64C-B7F1-C90C-CAED0FD2F2B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39" creationId="{39392C82-909C-1F94-A5A7-CF8681CDF36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0" creationId="{7FFCFE57-59E3-F45E-13B9-49EE62C31C6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1" creationId="{D3EB5F32-385E-D8FB-F5E9-6C81EA7EFDC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2" creationId="{A82D2FC0-EFA8-04C0-F982-63E8BFE0B512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3" creationId="{C3A9697F-BE4A-48DA-D0C7-869E67932CF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4" creationId="{DA77ED37-8B47-7836-4613-E5906D35DFB9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5" creationId="{F8260935-A1CA-73B3-FAAA-46A89615E8F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6" creationId="{DC48EBB8-0F2B-2F55-D51C-2C07D7BBFB6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7" creationId="{10831562-8DAF-3404-984D-F5868BFCC2D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8" creationId="{AE50B35A-DB80-5A54-74C1-DF7FD32409C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49" creationId="{DB7216F9-D415-BED7-F71E-2F65EE73818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0" creationId="{FE5A100E-7EB3-8647-332A-8400639D6FB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1" creationId="{9960E751-51E3-8691-33A7-78A13823075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2" creationId="{02EC9200-2A10-6FAB-7653-FAD0B3DA02A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3" creationId="{C770D9F7-10E8-65EB-6808-71579A43B2A7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4" creationId="{233942D7-4B51-EDDE-ADE3-D55FB354448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5" creationId="{15303D25-6B01-B3CB-CCBF-2E9163FE6FC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6" creationId="{EC96C187-449B-EC01-E09E-CA4B9F573A98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7" creationId="{154698F3-8D5F-5964-0652-3C763754D14E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8" creationId="{5318BA15-BDC4-3B2E-23B7-A25512D3717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59" creationId="{2F3D324E-3CC9-76CA-682A-BEBFB4B1A8F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0" creationId="{B3104F66-6C86-4F95-B295-701ED7B5AB8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1" creationId="{AFD309DB-A17B-D3E3-600A-2E7AF01EF000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2" creationId="{3A3CDB1D-87A2-A816-F329-1EE1E61B6C94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3" creationId="{2A91D856-8966-4F84-BD76-7A5B0474D755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4" creationId="{75A1A5EA-F7B3-AC41-2157-428D133EEE9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5" creationId="{F061BF86-4A86-EE39-A881-BE87CECF0F63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6" creationId="{849F1BFA-18DB-A5B5-1267-D07FB4A985AA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7" creationId="{9E58A7AE-F18C-558F-20D9-5C6914EC4D16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8" creationId="{F96D5447-3E3B-0D48-1501-41EAD78A348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69" creationId="{73486DDA-EFE2-F80B-E92F-956CE4837ACD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70" creationId="{2A72BB21-3E3C-EFE8-D63B-95DB2B77B00C}"/>
          </ac:spMkLst>
        </pc:spChg>
        <pc:spChg chg="mod">
          <ac:chgData name="Otavio Augusto Sabia Gava" userId="68ac195b-011b-467c-86d4-321df89323d0" providerId="ADAL" clId="{0C687AD9-2800-41E2-AA69-D02ABC7EDD76}" dt="2023-11-17T14:04:01.695" v="2515" actId="1035"/>
          <ac:spMkLst>
            <pc:docMk/>
            <pc:sldMk cId="4122750126" sldId="1189"/>
            <ac:spMk id="271" creationId="{D6CB52DF-7803-15C1-6D23-12C1AC86CD7A}"/>
          </ac:spMkLst>
        </pc:spChg>
        <pc:picChg chg="del">
          <ac:chgData name="Otavio Augusto Sabia Gava" userId="68ac195b-011b-467c-86d4-321df89323d0" providerId="ADAL" clId="{0C687AD9-2800-41E2-AA69-D02ABC7EDD76}" dt="2023-11-13T20:56:47.144" v="1456" actId="478"/>
          <ac:picMkLst>
            <pc:docMk/>
            <pc:sldMk cId="4122750126" sldId="1189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6:47.144" v="1456" actId="478"/>
          <ac:picMkLst>
            <pc:docMk/>
            <pc:sldMk cId="4122750126" sldId="1189"/>
            <ac:picMk id="84" creationId="{01FCA192-1C75-43C5-85B5-0733B25DD09B}"/>
          </ac:picMkLst>
        </pc:picChg>
      </pc:sldChg>
      <pc:sldChg chg="add del ord">
        <pc:chgData name="Otavio Augusto Sabia Gava" userId="68ac195b-011b-467c-86d4-321df89323d0" providerId="ADAL" clId="{0C687AD9-2800-41E2-AA69-D02ABC7EDD76}" dt="2024-01-14T01:01:12.243" v="30619"/>
        <pc:sldMkLst>
          <pc:docMk/>
          <pc:sldMk cId="628515252" sldId="1302"/>
        </pc:sldMkLst>
      </pc:sldChg>
      <pc:sldChg chg="addSp delSp modSp mod ord modShow">
        <pc:chgData name="Otavio Augusto Sabia Gava" userId="68ac195b-011b-467c-86d4-321df89323d0" providerId="ADAL" clId="{0C687AD9-2800-41E2-AA69-D02ABC7EDD76}" dt="2024-02-21T18:42:02.774" v="30657" actId="729"/>
        <pc:sldMkLst>
          <pc:docMk/>
          <pc:sldMk cId="1272869818" sldId="1306"/>
        </pc:sldMkLst>
        <pc:spChg chg="mod">
          <ac:chgData name="Otavio Augusto Sabia Gava" userId="68ac195b-011b-467c-86d4-321df89323d0" providerId="ADAL" clId="{0C687AD9-2800-41E2-AA69-D02ABC7EDD76}" dt="2023-11-13T14:51:50.437" v="563" actId="20577"/>
          <ac:spMkLst>
            <pc:docMk/>
            <pc:sldMk cId="1272869818" sldId="1306"/>
            <ac:spMk id="3" creationId="{2F57F912-E90A-45A0-B3E4-D77F4778EC67}"/>
          </ac:spMkLst>
        </pc:spChg>
        <pc:spChg chg="mod">
          <ac:chgData name="Otavio Augusto Sabia Gava" userId="68ac195b-011b-467c-86d4-321df89323d0" providerId="ADAL" clId="{0C687AD9-2800-41E2-AA69-D02ABC7EDD76}" dt="2023-11-13T15:11:04.354" v="591" actId="113"/>
          <ac:spMkLst>
            <pc:docMk/>
            <pc:sldMk cId="1272869818" sldId="1306"/>
            <ac:spMk id="5" creationId="{83035F3C-ABF6-441E-BFA9-E36AAB2A9BFB}"/>
          </ac:spMkLst>
        </pc:spChg>
        <pc:spChg chg="mod">
          <ac:chgData name="Otavio Augusto Sabia Gava" userId="68ac195b-011b-467c-86d4-321df89323d0" providerId="ADAL" clId="{0C687AD9-2800-41E2-AA69-D02ABC7EDD76}" dt="2023-11-17T14:32:27.499" v="2525" actId="1038"/>
          <ac:spMkLst>
            <pc:docMk/>
            <pc:sldMk cId="1272869818" sldId="1306"/>
            <ac:spMk id="8" creationId="{50B3894C-CD30-4D8E-8A6E-1761370184BD}"/>
          </ac:spMkLst>
        </pc:spChg>
        <pc:picChg chg="add del mod">
          <ac:chgData name="Otavio Augusto Sabia Gava" userId="68ac195b-011b-467c-86d4-321df89323d0" providerId="ADAL" clId="{0C687AD9-2800-41E2-AA69-D02ABC7EDD76}" dt="2023-11-20T13:21:09.909" v="4146"/>
          <ac:picMkLst>
            <pc:docMk/>
            <pc:sldMk cId="1272869818" sldId="1306"/>
            <ac:picMk id="11" creationId="{99AB99E1-0AC5-E9DC-1DA1-329654756DA3}"/>
          </ac:picMkLst>
        </pc:picChg>
        <pc:picChg chg="add del mod">
          <ac:chgData name="Otavio Augusto Sabia Gava" userId="68ac195b-011b-467c-86d4-321df89323d0" providerId="ADAL" clId="{0C687AD9-2800-41E2-AA69-D02ABC7EDD76}" dt="2023-11-20T13:21:09.909" v="4146"/>
          <ac:picMkLst>
            <pc:docMk/>
            <pc:sldMk cId="1272869818" sldId="1306"/>
            <ac:picMk id="12" creationId="{28E2F668-509A-5835-B7FC-519F4A2D72D0}"/>
          </ac:picMkLst>
        </pc:picChg>
        <pc:picChg chg="add del mod">
          <ac:chgData name="Otavio Augusto Sabia Gava" userId="68ac195b-011b-467c-86d4-321df89323d0" providerId="ADAL" clId="{0C687AD9-2800-41E2-AA69-D02ABC7EDD76}" dt="2023-11-20T13:21:57.089" v="4149" actId="478"/>
          <ac:picMkLst>
            <pc:docMk/>
            <pc:sldMk cId="1272869818" sldId="1306"/>
            <ac:picMk id="13" creationId="{00F79386-C5CB-5034-0B88-122E3D7B226F}"/>
          </ac:picMkLst>
        </pc:picChg>
        <pc:picChg chg="add del mod">
          <ac:chgData name="Otavio Augusto Sabia Gava" userId="68ac195b-011b-467c-86d4-321df89323d0" providerId="ADAL" clId="{0C687AD9-2800-41E2-AA69-D02ABC7EDD76}" dt="2023-11-20T13:21:57.089" v="4149" actId="478"/>
          <ac:picMkLst>
            <pc:docMk/>
            <pc:sldMk cId="1272869818" sldId="1306"/>
            <ac:picMk id="14" creationId="{8AD8B391-C637-8225-D641-86C78FFAD443}"/>
          </ac:picMkLst>
        </pc:picChg>
        <pc:picChg chg="add mod">
          <ac:chgData name="Otavio Augusto Sabia Gava" userId="68ac195b-011b-467c-86d4-321df89323d0" providerId="ADAL" clId="{0C687AD9-2800-41E2-AA69-D02ABC7EDD76}" dt="2023-11-20T13:21:57.277" v="4150"/>
          <ac:picMkLst>
            <pc:docMk/>
            <pc:sldMk cId="1272869818" sldId="1306"/>
            <ac:picMk id="15" creationId="{02D14029-E6DA-5131-8ECE-A9DFC7EDAD82}"/>
          </ac:picMkLst>
        </pc:picChg>
        <pc:picChg chg="add mod">
          <ac:chgData name="Otavio Augusto Sabia Gava" userId="68ac195b-011b-467c-86d4-321df89323d0" providerId="ADAL" clId="{0C687AD9-2800-41E2-AA69-D02ABC7EDD76}" dt="2023-11-22T12:22:09.729" v="16973"/>
          <ac:picMkLst>
            <pc:docMk/>
            <pc:sldMk cId="1272869818" sldId="1306"/>
            <ac:picMk id="16" creationId="{B56E6635-A695-E3B7-5622-99E780605545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13.448" v="2395" actId="47"/>
        <pc:sldMkLst>
          <pc:docMk/>
          <pc:sldMk cId="4033032989" sldId="1316"/>
        </pc:sldMkLst>
        <pc:spChg chg="add del mod">
          <ac:chgData name="Otavio Augusto Sabia Gava" userId="68ac195b-011b-467c-86d4-321df89323d0" providerId="ADAL" clId="{0C687AD9-2800-41E2-AA69-D02ABC7EDD76}" dt="2023-11-13T19:21:27.763" v="983"/>
          <ac:spMkLst>
            <pc:docMk/>
            <pc:sldMk cId="4033032989" sldId="1316"/>
            <ac:spMk id="3" creationId="{7D8830DB-5EF2-F611-9935-8D74E74BEC84}"/>
          </ac:spMkLst>
        </pc:spChg>
        <pc:spChg chg="add mod">
          <ac:chgData name="Otavio Augusto Sabia Gava" userId="68ac195b-011b-467c-86d4-321df89323d0" providerId="ADAL" clId="{0C687AD9-2800-41E2-AA69-D02ABC7EDD76}" dt="2023-11-13T19:21:33.759" v="994"/>
          <ac:spMkLst>
            <pc:docMk/>
            <pc:sldMk cId="4033032989" sldId="1316"/>
            <ac:spMk id="5" creationId="{4BFFD8DF-18ED-E883-8A22-FA7C6607A0BD}"/>
          </ac:spMkLst>
        </pc:spChg>
        <pc:picChg chg="add del mod">
          <ac:chgData name="Otavio Augusto Sabia Gava" userId="68ac195b-011b-467c-86d4-321df89323d0" providerId="ADAL" clId="{0C687AD9-2800-41E2-AA69-D02ABC7EDD76}" dt="2023-11-13T19:21:27.763" v="983"/>
          <ac:picMkLst>
            <pc:docMk/>
            <pc:sldMk cId="4033032989" sldId="1316"/>
            <ac:picMk id="4" creationId="{3B19FC6A-2552-EC4D-BD61-8D279F474D93}"/>
          </ac:picMkLst>
        </pc:picChg>
        <pc:picChg chg="add mod">
          <ac:chgData name="Otavio Augusto Sabia Gava" userId="68ac195b-011b-467c-86d4-321df89323d0" providerId="ADAL" clId="{0C687AD9-2800-41E2-AA69-D02ABC7EDD76}" dt="2023-11-13T19:21:33.759" v="994"/>
          <ac:picMkLst>
            <pc:docMk/>
            <pc:sldMk cId="4033032989" sldId="1316"/>
            <ac:picMk id="6" creationId="{24A84BF8-1573-E735-E733-8C1C79D6484E}"/>
          </ac:picMkLst>
        </pc:picChg>
        <pc:picChg chg="del">
          <ac:chgData name="Otavio Augusto Sabia Gava" userId="68ac195b-011b-467c-86d4-321df89323d0" providerId="ADAL" clId="{0C687AD9-2800-41E2-AA69-D02ABC7EDD76}" dt="2023-11-13T19:20:54.586" v="931" actId="478"/>
          <ac:picMkLst>
            <pc:docMk/>
            <pc:sldMk cId="4033032989" sldId="1316"/>
            <ac:picMk id="14" creationId="{212D4E9D-C4A0-25BB-6DD7-63655DEF71BD}"/>
          </ac:picMkLst>
        </pc:picChg>
        <pc:picChg chg="del">
          <ac:chgData name="Otavio Augusto Sabia Gava" userId="68ac195b-011b-467c-86d4-321df89323d0" providerId="ADAL" clId="{0C687AD9-2800-41E2-AA69-D02ABC7EDD76}" dt="2023-11-13T20:57:46.011" v="1478" actId="478"/>
          <ac:picMkLst>
            <pc:docMk/>
            <pc:sldMk cId="4033032989" sldId="1316"/>
            <ac:picMk id="21" creationId="{C682AC08-5551-4ACA-91E5-58D9424C9526}"/>
          </ac:picMkLst>
        </pc:picChg>
        <pc:picChg chg="del mod">
          <ac:chgData name="Otavio Augusto Sabia Gava" userId="68ac195b-011b-467c-86d4-321df89323d0" providerId="ADAL" clId="{0C687AD9-2800-41E2-AA69-D02ABC7EDD76}" dt="2023-11-13T19:21:24.515" v="981" actId="478"/>
          <ac:picMkLst>
            <pc:docMk/>
            <pc:sldMk cId="4033032989" sldId="1316"/>
            <ac:picMk id="22" creationId="{6B48401E-A674-464E-9B82-C38A82DA6F59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15.791" v="2397" actId="47"/>
        <pc:sldMkLst>
          <pc:docMk/>
          <pc:sldMk cId="1130245371" sldId="1318"/>
        </pc:sldMkLst>
        <pc:spChg chg="add mod">
          <ac:chgData name="Otavio Augusto Sabia Gava" userId="68ac195b-011b-467c-86d4-321df89323d0" providerId="ADAL" clId="{0C687AD9-2800-41E2-AA69-D02ABC7EDD76}" dt="2023-11-13T19:22:20.730" v="1009"/>
          <ac:spMkLst>
            <pc:docMk/>
            <pc:sldMk cId="1130245371" sldId="1318"/>
            <ac:spMk id="7" creationId="{2A13F6EA-16A7-5815-4BBC-BCA514C5E3E6}"/>
          </ac:spMkLst>
        </pc:spChg>
        <pc:picChg chg="del">
          <ac:chgData name="Otavio Augusto Sabia Gava" userId="68ac195b-011b-467c-86d4-321df89323d0" providerId="ADAL" clId="{0C687AD9-2800-41E2-AA69-D02ABC7EDD76}" dt="2023-11-13T19:22:07.340" v="995" actId="478"/>
          <ac:picMkLst>
            <pc:docMk/>
            <pc:sldMk cId="1130245371" sldId="1318"/>
            <ac:picMk id="3" creationId="{27F94B18-4503-1D70-02FF-61373A4002B1}"/>
          </ac:picMkLst>
        </pc:picChg>
        <pc:picChg chg="del">
          <ac:chgData name="Otavio Augusto Sabia Gava" userId="68ac195b-011b-467c-86d4-321df89323d0" providerId="ADAL" clId="{0C687AD9-2800-41E2-AA69-D02ABC7EDD76}" dt="2023-11-13T19:22:07.340" v="995" actId="478"/>
          <ac:picMkLst>
            <pc:docMk/>
            <pc:sldMk cId="1130245371" sldId="1318"/>
            <ac:picMk id="4" creationId="{DCEF16B1-D9C2-9FF0-5734-3E61F3AC531B}"/>
          </ac:picMkLst>
        </pc:picChg>
        <pc:picChg chg="del">
          <ac:chgData name="Otavio Augusto Sabia Gava" userId="68ac195b-011b-467c-86d4-321df89323d0" providerId="ADAL" clId="{0C687AD9-2800-41E2-AA69-D02ABC7EDD76}" dt="2023-11-13T19:22:07.340" v="995" actId="478"/>
          <ac:picMkLst>
            <pc:docMk/>
            <pc:sldMk cId="1130245371" sldId="1318"/>
            <ac:picMk id="5" creationId="{9AE94559-50B8-AC78-E450-58D3AA82CBB4}"/>
          </ac:picMkLst>
        </pc:picChg>
        <pc:picChg chg="del">
          <ac:chgData name="Otavio Augusto Sabia Gava" userId="68ac195b-011b-467c-86d4-321df89323d0" providerId="ADAL" clId="{0C687AD9-2800-41E2-AA69-D02ABC7EDD76}" dt="2023-11-13T19:22:07.340" v="995" actId="478"/>
          <ac:picMkLst>
            <pc:docMk/>
            <pc:sldMk cId="1130245371" sldId="1318"/>
            <ac:picMk id="6" creationId="{80247D86-0E78-A68E-9E9F-83F7200AF84E}"/>
          </ac:picMkLst>
        </pc:picChg>
        <pc:picChg chg="add mod">
          <ac:chgData name="Otavio Augusto Sabia Gava" userId="68ac195b-011b-467c-86d4-321df89323d0" providerId="ADAL" clId="{0C687AD9-2800-41E2-AA69-D02ABC7EDD76}" dt="2023-11-13T19:22:20.730" v="1009"/>
          <ac:picMkLst>
            <pc:docMk/>
            <pc:sldMk cId="1130245371" sldId="1318"/>
            <ac:picMk id="9" creationId="{9A66B361-8DDD-7F62-8AAD-75813A5887FE}"/>
          </ac:picMkLst>
        </pc:picChg>
        <pc:picChg chg="del">
          <ac:chgData name="Otavio Augusto Sabia Gava" userId="68ac195b-011b-467c-86d4-321df89323d0" providerId="ADAL" clId="{0C687AD9-2800-41E2-AA69-D02ABC7EDD76}" dt="2023-11-13T19:22:20.542" v="1008" actId="478"/>
          <ac:picMkLst>
            <pc:docMk/>
            <pc:sldMk cId="1130245371" sldId="1318"/>
            <ac:picMk id="20" creationId="{B1470B62-57F9-446A-B03F-372F1780848F}"/>
          </ac:picMkLst>
        </pc:picChg>
        <pc:picChg chg="del">
          <ac:chgData name="Otavio Augusto Sabia Gava" userId="68ac195b-011b-467c-86d4-321df89323d0" providerId="ADAL" clId="{0C687AD9-2800-41E2-AA69-D02ABC7EDD76}" dt="2023-11-13T20:57:53.986" v="1480" actId="478"/>
          <ac:picMkLst>
            <pc:docMk/>
            <pc:sldMk cId="1130245371" sldId="1318"/>
            <ac:picMk id="21" creationId="{C682AC08-5551-4ACA-91E5-58D9424C9526}"/>
          </ac:picMkLst>
        </pc:picChg>
        <pc:picChg chg="del">
          <ac:chgData name="Otavio Augusto Sabia Gava" userId="68ac195b-011b-467c-86d4-321df89323d0" providerId="ADAL" clId="{0C687AD9-2800-41E2-AA69-D02ABC7EDD76}" dt="2023-11-13T19:22:07.340" v="995" actId="478"/>
          <ac:picMkLst>
            <pc:docMk/>
            <pc:sldMk cId="1130245371" sldId="1318"/>
            <ac:picMk id="1026" creationId="{EC2643BB-87CA-CCD1-F56D-87AE544C0F24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11.145" v="2394" actId="47"/>
        <pc:sldMkLst>
          <pc:docMk/>
          <pc:sldMk cId="731022892" sldId="1319"/>
        </pc:sldMkLst>
        <pc:spChg chg="mod">
          <ac:chgData name="Otavio Augusto Sabia Gava" userId="68ac195b-011b-467c-86d4-321df89323d0" providerId="ADAL" clId="{0C687AD9-2800-41E2-AA69-D02ABC7EDD76}" dt="2023-11-13T19:22:15.481" v="1007" actId="1036"/>
          <ac:spMkLst>
            <pc:docMk/>
            <pc:sldMk cId="731022892" sldId="1319"/>
            <ac:spMk id="2" creationId="{7C19342F-4052-46FA-B844-EB42E8457DCA}"/>
          </ac:spMkLst>
        </pc:spChg>
        <pc:picChg chg="del">
          <ac:chgData name="Otavio Augusto Sabia Gava" userId="68ac195b-011b-467c-86d4-321df89323d0" providerId="ADAL" clId="{0C687AD9-2800-41E2-AA69-D02ABC7EDD76}" dt="2023-11-13T20:57:57.606" v="1482" actId="478"/>
          <ac:picMkLst>
            <pc:docMk/>
            <pc:sldMk cId="731022892" sldId="1319"/>
            <ac:picMk id="35" creationId="{33B4299A-A0C6-48E4-B641-E2FB5079D70F}"/>
          </ac:picMkLst>
        </pc:picChg>
        <pc:picChg chg="mod">
          <ac:chgData name="Otavio Augusto Sabia Gava" userId="68ac195b-011b-467c-86d4-321df89323d0" providerId="ADAL" clId="{0C687AD9-2800-41E2-AA69-D02ABC7EDD76}" dt="2023-11-13T19:22:11.216" v="1001" actId="1036"/>
          <ac:picMkLst>
            <pc:docMk/>
            <pc:sldMk cId="731022892" sldId="1319"/>
            <ac:picMk id="57" creationId="{44B9B5E6-BB5A-496B-938B-1EB32A87EE57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17.024" v="2398" actId="47"/>
        <pc:sldMkLst>
          <pc:docMk/>
          <pc:sldMk cId="2867071762" sldId="1320"/>
        </pc:sldMkLst>
        <pc:spChg chg="add mod">
          <ac:chgData name="Otavio Augusto Sabia Gava" userId="68ac195b-011b-467c-86d4-321df89323d0" providerId="ADAL" clId="{0C687AD9-2800-41E2-AA69-D02ABC7EDD76}" dt="2023-11-13T19:22:48.445" v="1033"/>
          <ac:spMkLst>
            <pc:docMk/>
            <pc:sldMk cId="2867071762" sldId="1320"/>
            <ac:spMk id="3" creationId="{2C627FAD-5954-773A-7D2D-BA24CE31102A}"/>
          </ac:spMkLst>
        </pc:spChg>
        <pc:picChg chg="add mod">
          <ac:chgData name="Otavio Augusto Sabia Gava" userId="68ac195b-011b-467c-86d4-321df89323d0" providerId="ADAL" clId="{0C687AD9-2800-41E2-AA69-D02ABC7EDD76}" dt="2023-11-13T19:22:48.445" v="1033"/>
          <ac:picMkLst>
            <pc:docMk/>
            <pc:sldMk cId="2867071762" sldId="1320"/>
            <ac:picMk id="4" creationId="{B2CBDAA4-8C9D-F701-7565-50EE7449BBF4}"/>
          </ac:picMkLst>
        </pc:picChg>
        <pc:picChg chg="del mod">
          <ac:chgData name="Otavio Augusto Sabia Gava" userId="68ac195b-011b-467c-86d4-321df89323d0" providerId="ADAL" clId="{0C687AD9-2800-41E2-AA69-D02ABC7EDD76}" dt="2023-11-13T19:22:46.666" v="1031" actId="478"/>
          <ac:picMkLst>
            <pc:docMk/>
            <pc:sldMk cId="2867071762" sldId="1320"/>
            <ac:picMk id="14" creationId="{0D3A919B-013D-44F0-95A8-80DCCED6F514}"/>
          </ac:picMkLst>
        </pc:picChg>
        <pc:picChg chg="del">
          <ac:chgData name="Otavio Augusto Sabia Gava" userId="68ac195b-011b-467c-86d4-321df89323d0" providerId="ADAL" clId="{0C687AD9-2800-41E2-AA69-D02ABC7EDD76}" dt="2023-11-13T19:22:48.224" v="1032" actId="478"/>
          <ac:picMkLst>
            <pc:docMk/>
            <pc:sldMk cId="2867071762" sldId="1320"/>
            <ac:picMk id="20" creationId="{2A106903-B2E9-B640-16D0-E3F7EA309AC5}"/>
          </ac:picMkLst>
        </pc:picChg>
        <pc:picChg chg="del">
          <ac:chgData name="Otavio Augusto Sabia Gava" userId="68ac195b-011b-467c-86d4-321df89323d0" providerId="ADAL" clId="{0C687AD9-2800-41E2-AA69-D02ABC7EDD76}" dt="2023-11-13T20:57:56" v="1481" actId="478"/>
          <ac:picMkLst>
            <pc:docMk/>
            <pc:sldMk cId="2867071762" sldId="1320"/>
            <ac:picMk id="21" creationId="{C682AC08-5551-4ACA-91E5-58D9424C9526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17.922" v="2399" actId="47"/>
        <pc:sldMkLst>
          <pc:docMk/>
          <pc:sldMk cId="1987753589" sldId="1321"/>
        </pc:sldMkLst>
        <pc:spChg chg="mod">
          <ac:chgData name="Otavio Augusto Sabia Gava" userId="68ac195b-011b-467c-86d4-321df89323d0" providerId="ADAL" clId="{0C687AD9-2800-41E2-AA69-D02ABC7EDD76}" dt="2023-11-13T19:22:40.838" v="1030" actId="1036"/>
          <ac:spMkLst>
            <pc:docMk/>
            <pc:sldMk cId="1987753589" sldId="1321"/>
            <ac:spMk id="2" creationId="{7C19342F-4052-46FA-B844-EB42E8457DCA}"/>
          </ac:spMkLst>
        </pc:spChg>
        <pc:picChg chg="mod">
          <ac:chgData name="Otavio Augusto Sabia Gava" userId="68ac195b-011b-467c-86d4-321df89323d0" providerId="ADAL" clId="{0C687AD9-2800-41E2-AA69-D02ABC7EDD76}" dt="2023-11-13T19:22:36.968" v="1026" actId="1036"/>
          <ac:picMkLst>
            <pc:docMk/>
            <pc:sldMk cId="1987753589" sldId="1321"/>
            <ac:picMk id="5" creationId="{4FAC8833-02ED-4A74-89EC-F458D9ACD7DA}"/>
          </ac:picMkLst>
        </pc:picChg>
        <pc:picChg chg="del">
          <ac:chgData name="Otavio Augusto Sabia Gava" userId="68ac195b-011b-467c-86d4-321df89323d0" providerId="ADAL" clId="{0C687AD9-2800-41E2-AA69-D02ABC7EDD76}" dt="2023-11-13T20:58:02.244" v="1483" actId="478"/>
          <ac:picMkLst>
            <pc:docMk/>
            <pc:sldMk cId="1987753589" sldId="1321"/>
            <ac:picMk id="54" creationId="{3A5EDB2D-EED2-45A8-9857-1D9501052B20}"/>
          </ac:picMkLst>
        </pc:picChg>
      </pc:sldChg>
      <pc:sldChg chg="modSp del mod ord modShow">
        <pc:chgData name="Otavio Augusto Sabia Gava" userId="68ac195b-011b-467c-86d4-321df89323d0" providerId="ADAL" clId="{0C687AD9-2800-41E2-AA69-D02ABC7EDD76}" dt="2023-11-17T11:56:38.608" v="2391" actId="47"/>
        <pc:sldMkLst>
          <pc:docMk/>
          <pc:sldMk cId="1337444190" sldId="1326"/>
        </pc:sldMkLst>
        <pc:spChg chg="mod">
          <ac:chgData name="Otavio Augusto Sabia Gava" userId="68ac195b-011b-467c-86d4-321df89323d0" providerId="ADAL" clId="{0C687AD9-2800-41E2-AA69-D02ABC7EDD76}" dt="2023-11-13T13:58:50.358" v="427" actId="113"/>
          <ac:spMkLst>
            <pc:docMk/>
            <pc:sldMk cId="1337444190" sldId="1326"/>
            <ac:spMk id="13" creationId="{6FA3014D-DF24-480D-99FA-E5086AEF0283}"/>
          </ac:spMkLst>
        </pc:spChg>
      </pc:sldChg>
      <pc:sldChg chg="addSp modSp add">
        <pc:chgData name="Otavio Augusto Sabia Gava" userId="68ac195b-011b-467c-86d4-321df89323d0" providerId="ADAL" clId="{0C687AD9-2800-41E2-AA69-D02ABC7EDD76}" dt="2024-02-01T17:44:11.228" v="30629"/>
        <pc:sldMkLst>
          <pc:docMk/>
          <pc:sldMk cId="2392139736" sldId="1365"/>
        </pc:sldMkLst>
        <pc:picChg chg="add mod">
          <ac:chgData name="Otavio Augusto Sabia Gava" userId="68ac195b-011b-467c-86d4-321df89323d0" providerId="ADAL" clId="{0C687AD9-2800-41E2-AA69-D02ABC7EDD76}" dt="2024-02-01T17:44:03.972" v="30628"/>
          <ac:picMkLst>
            <pc:docMk/>
            <pc:sldMk cId="2392139736" sldId="1365"/>
            <ac:picMk id="2" creationId="{823239C9-E103-7AEA-10E4-28FDF8235846}"/>
          </ac:picMkLst>
        </pc:picChg>
        <pc:picChg chg="add mod">
          <ac:chgData name="Otavio Augusto Sabia Gava" userId="68ac195b-011b-467c-86d4-321df89323d0" providerId="ADAL" clId="{0C687AD9-2800-41E2-AA69-D02ABC7EDD76}" dt="2024-02-01T17:44:11.228" v="30629"/>
          <ac:picMkLst>
            <pc:docMk/>
            <pc:sldMk cId="2392139736" sldId="1365"/>
            <ac:picMk id="3" creationId="{1E80C81B-C593-4AE7-E014-B43E75924670}"/>
          </ac:picMkLst>
        </pc:picChg>
      </pc:sldChg>
      <pc:sldChg chg="ord">
        <pc:chgData name="Otavio Augusto Sabia Gava" userId="68ac195b-011b-467c-86d4-321df89323d0" providerId="ADAL" clId="{0C687AD9-2800-41E2-AA69-D02ABC7EDD76}" dt="2023-11-13T14:19:38.875" v="485"/>
        <pc:sldMkLst>
          <pc:docMk/>
          <pc:sldMk cId="273265464" sldId="2626"/>
        </pc:sldMkLst>
      </pc:sldChg>
      <pc:sldChg chg="del">
        <pc:chgData name="Otavio Augusto Sabia Gava" userId="68ac195b-011b-467c-86d4-321df89323d0" providerId="ADAL" clId="{0C687AD9-2800-41E2-AA69-D02ABC7EDD76}" dt="2023-11-13T15:11:44.390" v="595" actId="47"/>
        <pc:sldMkLst>
          <pc:docMk/>
          <pc:sldMk cId="3487651073" sldId="2676"/>
        </pc:sldMkLst>
      </pc:sldChg>
      <pc:sldChg chg="delSp modSp add del mod">
        <pc:chgData name="Otavio Augusto Sabia Gava" userId="68ac195b-011b-467c-86d4-321df89323d0" providerId="ADAL" clId="{0C687AD9-2800-41E2-AA69-D02ABC7EDD76}" dt="2023-11-17T12:07:09.920" v="2393" actId="47"/>
        <pc:sldMkLst>
          <pc:docMk/>
          <pc:sldMk cId="2335169539" sldId="2683"/>
        </pc:sldMkLst>
        <pc:picChg chg="del">
          <ac:chgData name="Otavio Augusto Sabia Gava" userId="68ac195b-011b-467c-86d4-321df89323d0" providerId="ADAL" clId="{0C687AD9-2800-41E2-AA69-D02ABC7EDD76}" dt="2023-11-13T19:24:58.970" v="1043" actId="478"/>
          <ac:picMkLst>
            <pc:docMk/>
            <pc:sldMk cId="2335169539" sldId="2683"/>
            <ac:picMk id="3" creationId="{207CA28B-E6AC-5715-7A32-47D77581662F}"/>
          </ac:picMkLst>
        </pc:picChg>
        <pc:picChg chg="mod">
          <ac:chgData name="Otavio Augusto Sabia Gava" userId="68ac195b-011b-467c-86d4-321df89323d0" providerId="ADAL" clId="{0C687AD9-2800-41E2-AA69-D02ABC7EDD76}" dt="2023-11-13T19:24:48.413" v="1036" actId="1036"/>
          <ac:picMkLst>
            <pc:docMk/>
            <pc:sldMk cId="2335169539" sldId="2683"/>
            <ac:picMk id="14" creationId="{8A56D2FA-B050-4603-B156-C84AD00913C4}"/>
          </ac:picMkLst>
        </pc:picChg>
        <pc:picChg chg="del">
          <ac:chgData name="Otavio Augusto Sabia Gava" userId="68ac195b-011b-467c-86d4-321df89323d0" providerId="ADAL" clId="{0C687AD9-2800-41E2-AA69-D02ABC7EDD76}" dt="2023-11-13T20:58:05.644" v="1484" actId="478"/>
          <ac:picMkLst>
            <pc:docMk/>
            <pc:sldMk cId="2335169539" sldId="2683"/>
            <ac:picMk id="21" creationId="{51EB20EF-4782-EBCF-8E09-4B5FA7E43ED4}"/>
          </ac:picMkLst>
        </pc:picChg>
      </pc:sldChg>
      <pc:sldChg chg="del">
        <pc:chgData name="Otavio Augusto Sabia Gava" userId="68ac195b-011b-467c-86d4-321df89323d0" providerId="ADAL" clId="{0C687AD9-2800-41E2-AA69-D02ABC7EDD76}" dt="2023-11-13T14:19:54.993" v="488" actId="47"/>
        <pc:sldMkLst>
          <pc:docMk/>
          <pc:sldMk cId="4156396076" sldId="2684"/>
        </pc:sldMkLst>
      </pc:sldChg>
      <pc:sldChg chg="modSp add mod or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1978942788" sldId="2723"/>
        </pc:sldMkLst>
        <pc:spChg chg="mod">
          <ac:chgData name="Otavio Augusto Sabia Gava" userId="68ac195b-011b-467c-86d4-321df89323d0" providerId="ADAL" clId="{0C687AD9-2800-41E2-AA69-D02ABC7EDD76}" dt="2023-11-17T14:03:00.446" v="2507" actId="1036"/>
          <ac:spMkLst>
            <pc:docMk/>
            <pc:sldMk cId="1978942788" sldId="2723"/>
            <ac:spMk id="8" creationId="{50B3894C-CD30-4D8E-8A6E-1761370184BD}"/>
          </ac:spMkLst>
        </pc:spChg>
      </pc:sldChg>
      <pc:sldChg chg="del">
        <pc:chgData name="Otavio Augusto Sabia Gava" userId="68ac195b-011b-467c-86d4-321df89323d0" providerId="ADAL" clId="{0C687AD9-2800-41E2-AA69-D02ABC7EDD76}" dt="2023-11-13T14:19:53.531" v="487" actId="47"/>
        <pc:sldMkLst>
          <pc:docMk/>
          <pc:sldMk cId="3272660070" sldId="2776"/>
        </pc:sldMkLst>
      </pc:sldChg>
      <pc:sldChg chg="modSp add del mod ord">
        <pc:chgData name="Otavio Augusto Sabia Gava" userId="68ac195b-011b-467c-86d4-321df89323d0" providerId="ADAL" clId="{0C687AD9-2800-41E2-AA69-D02ABC7EDD76}" dt="2024-01-14T01:05:28.055" v="30622"/>
        <pc:sldMkLst>
          <pc:docMk/>
          <pc:sldMk cId="3906586860" sldId="2865"/>
        </pc:sldMkLst>
        <pc:spChg chg="mod">
          <ac:chgData name="Otavio Augusto Sabia Gava" userId="68ac195b-011b-467c-86d4-321df89323d0" providerId="ADAL" clId="{0C687AD9-2800-41E2-AA69-D02ABC7EDD76}" dt="2023-11-13T15:12:10.478" v="603" actId="20577"/>
          <ac:spMkLst>
            <pc:docMk/>
            <pc:sldMk cId="3906586860" sldId="2865"/>
            <ac:spMk id="3" creationId="{9973AD21-34CE-4BB7-B543-D82820144BA6}"/>
          </ac:spMkLst>
        </pc:spChg>
      </pc:sldChg>
      <pc:sldChg chg="addSp delSp modSp mod modShow">
        <pc:chgData name="Otavio Augusto Sabia Gava" userId="68ac195b-011b-467c-86d4-321df89323d0" providerId="ADAL" clId="{0C687AD9-2800-41E2-AA69-D02ABC7EDD76}" dt="2023-12-05T15:18:04.680" v="30614" actId="729"/>
        <pc:sldMkLst>
          <pc:docMk/>
          <pc:sldMk cId="3298356342" sldId="2866"/>
        </pc:sldMkLst>
        <pc:spChg chg="mod">
          <ac:chgData name="Otavio Augusto Sabia Gava" userId="68ac195b-011b-467c-86d4-321df89323d0" providerId="ADAL" clId="{0C687AD9-2800-41E2-AA69-D02ABC7EDD76}" dt="2023-11-13T15:15:26.057" v="615" actId="113"/>
          <ac:spMkLst>
            <pc:docMk/>
            <pc:sldMk cId="3298356342" sldId="2866"/>
            <ac:spMk id="2" creationId="{D8475BE7-E04E-4E31-A007-213AD30CC00B}"/>
          </ac:spMkLst>
        </pc:spChg>
        <pc:spChg chg="mod">
          <ac:chgData name="Otavio Augusto Sabia Gava" userId="68ac195b-011b-467c-86d4-321df89323d0" providerId="ADAL" clId="{0C687AD9-2800-41E2-AA69-D02ABC7EDD76}" dt="2023-11-13T15:14:50.531" v="610"/>
          <ac:spMkLst>
            <pc:docMk/>
            <pc:sldMk cId="3298356342" sldId="2866"/>
            <ac:spMk id="3" creationId="{2036A75D-D749-4A0F-9340-6D539AFFCEFB}"/>
          </ac:spMkLst>
        </pc:spChg>
        <pc:grpChg chg="del">
          <ac:chgData name="Otavio Augusto Sabia Gava" userId="68ac195b-011b-467c-86d4-321df89323d0" providerId="ADAL" clId="{0C687AD9-2800-41E2-AA69-D02ABC7EDD76}" dt="2023-11-20T13:22:38.360" v="4153" actId="478"/>
          <ac:grpSpMkLst>
            <pc:docMk/>
            <pc:sldMk cId="3298356342" sldId="2866"/>
            <ac:grpSpMk id="97" creationId="{B79222F4-891B-41A5-BAE4-793405A2DC1B}"/>
          </ac:grpSpMkLst>
        </pc:grpChg>
        <pc:grpChg chg="del">
          <ac:chgData name="Otavio Augusto Sabia Gava" userId="68ac195b-011b-467c-86d4-321df89323d0" providerId="ADAL" clId="{0C687AD9-2800-41E2-AA69-D02ABC7EDD76}" dt="2023-11-20T13:22:38.643" v="4154" actId="478"/>
          <ac:grpSpMkLst>
            <pc:docMk/>
            <pc:sldMk cId="3298356342" sldId="2866"/>
            <ac:grpSpMk id="107" creationId="{307EAEB5-E6C9-45E1-86C6-B115BFE5D4B9}"/>
          </ac:grpSpMkLst>
        </pc:grpChg>
        <pc:grpChg chg="del">
          <ac:chgData name="Otavio Augusto Sabia Gava" userId="68ac195b-011b-467c-86d4-321df89323d0" providerId="ADAL" clId="{0C687AD9-2800-41E2-AA69-D02ABC7EDD76}" dt="2023-11-20T13:22:39.054" v="4155" actId="478"/>
          <ac:grpSpMkLst>
            <pc:docMk/>
            <pc:sldMk cId="3298356342" sldId="2866"/>
            <ac:grpSpMk id="111" creationId="{52467801-0B78-4314-940F-9BD54DF64606}"/>
          </ac:grpSpMkLst>
        </pc:grpChg>
        <pc:grpChg chg="del">
          <ac:chgData name="Otavio Augusto Sabia Gava" userId="68ac195b-011b-467c-86d4-321df89323d0" providerId="ADAL" clId="{0C687AD9-2800-41E2-AA69-D02ABC7EDD76}" dt="2023-11-20T13:22:39.874" v="4156" actId="478"/>
          <ac:grpSpMkLst>
            <pc:docMk/>
            <pc:sldMk cId="3298356342" sldId="2866"/>
            <ac:grpSpMk id="117" creationId="{1CBBF5BE-62FE-40D6-882D-1A164E34028B}"/>
          </ac:grpSpMkLst>
        </pc:grpChg>
        <pc:picChg chg="add mod">
          <ac:chgData name="Otavio Augusto Sabia Gava" userId="68ac195b-011b-467c-86d4-321df89323d0" providerId="ADAL" clId="{0C687AD9-2800-41E2-AA69-D02ABC7EDD76}" dt="2023-11-20T13:17:55.871" v="4137"/>
          <ac:picMkLst>
            <pc:docMk/>
            <pc:sldMk cId="3298356342" sldId="2866"/>
            <ac:picMk id="4" creationId="{1A440B81-F3DF-262E-8A78-0CC6FEA8A1DF}"/>
          </ac:picMkLst>
        </pc:picChg>
        <pc:picChg chg="add del mod">
          <ac:chgData name="Otavio Augusto Sabia Gava" userId="68ac195b-011b-467c-86d4-321df89323d0" providerId="ADAL" clId="{0C687AD9-2800-41E2-AA69-D02ABC7EDD76}" dt="2023-11-23T13:37:54.408" v="16992" actId="478"/>
          <ac:picMkLst>
            <pc:docMk/>
            <pc:sldMk cId="3298356342" sldId="2866"/>
            <ac:picMk id="5" creationId="{6DE6FADC-FCD0-F96C-2603-DA629664686D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4-02-01T17:56:05.069" v="30636"/>
        <pc:sldMkLst>
          <pc:docMk/>
          <pc:sldMk cId="3621315440" sldId="2906"/>
        </pc:sldMkLst>
        <pc:spChg chg="mod">
          <ac:chgData name="Otavio Augusto Sabia Gava" userId="68ac195b-011b-467c-86d4-321df89323d0" providerId="ADAL" clId="{0C687AD9-2800-41E2-AA69-D02ABC7EDD76}" dt="2023-11-21T18:35:03.962" v="16949" actId="207"/>
          <ac:spMkLst>
            <pc:docMk/>
            <pc:sldMk cId="3621315440" sldId="2906"/>
            <ac:spMk id="16" creationId="{6D779EA7-C1C4-40B5-9A9C-1B24E6EA7775}"/>
          </ac:spMkLst>
        </pc:spChg>
        <pc:spChg chg="mod">
          <ac:chgData name="Otavio Augusto Sabia Gava" userId="68ac195b-011b-467c-86d4-321df89323d0" providerId="ADAL" clId="{0C687AD9-2800-41E2-AA69-D02ABC7EDD76}" dt="2023-11-21T18:35:07.854" v="16950" actId="207"/>
          <ac:spMkLst>
            <pc:docMk/>
            <pc:sldMk cId="3621315440" sldId="2906"/>
            <ac:spMk id="22" creationId="{128D3580-76DD-4ECD-83B8-F559D28B1AA7}"/>
          </ac:spMkLst>
        </pc:spChg>
        <pc:spChg chg="mod">
          <ac:chgData name="Otavio Augusto Sabia Gava" userId="68ac195b-011b-467c-86d4-321df89323d0" providerId="ADAL" clId="{0C687AD9-2800-41E2-AA69-D02ABC7EDD76}" dt="2023-11-21T18:35:16.565" v="16952" actId="207"/>
          <ac:spMkLst>
            <pc:docMk/>
            <pc:sldMk cId="3621315440" sldId="2906"/>
            <ac:spMk id="25" creationId="{9BE6B77A-7302-4F28-90A0-0722AE59BB58}"/>
          </ac:spMkLst>
        </pc:spChg>
        <pc:spChg chg="mod">
          <ac:chgData name="Otavio Augusto Sabia Gava" userId="68ac195b-011b-467c-86d4-321df89323d0" providerId="ADAL" clId="{0C687AD9-2800-41E2-AA69-D02ABC7EDD76}" dt="2023-11-21T18:35:12.721" v="16951" actId="207"/>
          <ac:spMkLst>
            <pc:docMk/>
            <pc:sldMk cId="3621315440" sldId="2906"/>
            <ac:spMk id="38" creationId="{E595E169-0551-4924-91F5-66FE21A0AEC0}"/>
          </ac:spMkLst>
        </pc:spChg>
        <pc:spChg chg="mod">
          <ac:chgData name="Otavio Augusto Sabia Gava" userId="68ac195b-011b-467c-86d4-321df89323d0" providerId="ADAL" clId="{0C687AD9-2800-41E2-AA69-D02ABC7EDD76}" dt="2023-11-21T18:35:25.010" v="16953" actId="207"/>
          <ac:spMkLst>
            <pc:docMk/>
            <pc:sldMk cId="3621315440" sldId="2906"/>
            <ac:spMk id="56" creationId="{45C8B989-10B6-4B6F-B0C3-4522F964E269}"/>
          </ac:spMkLst>
        </pc:spChg>
        <pc:picChg chg="del">
          <ac:chgData name="Otavio Augusto Sabia Gava" userId="68ac195b-011b-467c-86d4-321df89323d0" providerId="ADAL" clId="{0C687AD9-2800-41E2-AA69-D02ABC7EDD76}" dt="2023-11-16T17:02:16.373" v="1940" actId="478"/>
          <ac:picMkLst>
            <pc:docMk/>
            <pc:sldMk cId="3621315440" sldId="2906"/>
            <ac:picMk id="5" creationId="{94744B87-9B04-20F2-257B-F9F37FCEDE63}"/>
          </ac:picMkLst>
        </pc:picChg>
        <pc:picChg chg="add del mod">
          <ac:chgData name="Otavio Augusto Sabia Gava" userId="68ac195b-011b-467c-86d4-321df89323d0" providerId="ADAL" clId="{0C687AD9-2800-41E2-AA69-D02ABC7EDD76}" dt="2023-11-20T13:17:27.593" v="4130" actId="478"/>
          <ac:picMkLst>
            <pc:docMk/>
            <pc:sldMk cId="3621315440" sldId="2906"/>
            <ac:picMk id="5" creationId="{A77E1A30-D22D-18AF-38F7-2901FCEC50D7}"/>
          </ac:picMkLst>
        </pc:picChg>
        <pc:picChg chg="add del mod">
          <ac:chgData name="Otavio Augusto Sabia Gava" userId="68ac195b-011b-467c-86d4-321df89323d0" providerId="ADAL" clId="{0C687AD9-2800-41E2-AA69-D02ABC7EDD76}" dt="2023-11-20T13:17:27.593" v="4130" actId="478"/>
          <ac:picMkLst>
            <pc:docMk/>
            <pc:sldMk cId="3621315440" sldId="2906"/>
            <ac:picMk id="8" creationId="{44293B6D-C232-BBE9-5444-86950D0D86B4}"/>
          </ac:picMkLst>
        </pc:picChg>
        <pc:picChg chg="del">
          <ac:chgData name="Otavio Augusto Sabia Gava" userId="68ac195b-011b-467c-86d4-321df89323d0" providerId="ADAL" clId="{0C687AD9-2800-41E2-AA69-D02ABC7EDD76}" dt="2023-11-16T17:02:16.373" v="1940" actId="478"/>
          <ac:picMkLst>
            <pc:docMk/>
            <pc:sldMk cId="3621315440" sldId="2906"/>
            <ac:picMk id="8" creationId="{EFB57E97-4848-4937-CE44-88DA0E00875D}"/>
          </ac:picMkLst>
        </pc:picChg>
        <pc:picChg chg="add mod">
          <ac:chgData name="Otavio Augusto Sabia Gava" userId="68ac195b-011b-467c-86d4-321df89323d0" providerId="ADAL" clId="{0C687AD9-2800-41E2-AA69-D02ABC7EDD76}" dt="2024-02-01T17:56:05.069" v="30636"/>
          <ac:picMkLst>
            <pc:docMk/>
            <pc:sldMk cId="3621315440" sldId="2906"/>
            <ac:picMk id="9" creationId="{D276083E-1E29-4440-9E72-380ADD6A7790}"/>
          </ac:picMkLst>
        </pc:picChg>
        <pc:picChg chg="add mod">
          <ac:chgData name="Otavio Augusto Sabia Gava" userId="68ac195b-011b-467c-86d4-321df89323d0" providerId="ADAL" clId="{0C687AD9-2800-41E2-AA69-D02ABC7EDD76}" dt="2023-11-20T13:19:38.078" v="4144"/>
          <ac:picMkLst>
            <pc:docMk/>
            <pc:sldMk cId="3621315440" sldId="2906"/>
            <ac:picMk id="10" creationId="{B0D56FDD-C619-E956-A1EE-C02BBBD71A28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3-12-05T15:17:55.016" v="30613" actId="729"/>
        <pc:sldMkLst>
          <pc:docMk/>
          <pc:sldMk cId="1268480979" sldId="2909"/>
        </pc:sldMkLst>
        <pc:spChg chg="mod">
          <ac:chgData name="Otavio Augusto Sabia Gava" userId="68ac195b-011b-467c-86d4-321df89323d0" providerId="ADAL" clId="{0C687AD9-2800-41E2-AA69-D02ABC7EDD76}" dt="2023-11-21T18:35:34.990" v="16954" actId="207"/>
          <ac:spMkLst>
            <pc:docMk/>
            <pc:sldMk cId="1268480979" sldId="2909"/>
            <ac:spMk id="9" creationId="{825F9ABE-C38E-44A6-8151-1585BF1BFFC8}"/>
          </ac:spMkLst>
        </pc:spChg>
        <pc:spChg chg="mod">
          <ac:chgData name="Otavio Augusto Sabia Gava" userId="68ac195b-011b-467c-86d4-321df89323d0" providerId="ADAL" clId="{0C687AD9-2800-41E2-AA69-D02ABC7EDD76}" dt="2023-11-21T18:35:40.722" v="16955" actId="207"/>
          <ac:spMkLst>
            <pc:docMk/>
            <pc:sldMk cId="1268480979" sldId="2909"/>
            <ac:spMk id="14" creationId="{33DE2A3F-5EFC-4290-97F0-19DD1827E90F}"/>
          </ac:spMkLst>
        </pc:spChg>
        <pc:spChg chg="mod">
          <ac:chgData name="Otavio Augusto Sabia Gava" userId="68ac195b-011b-467c-86d4-321df89323d0" providerId="ADAL" clId="{0C687AD9-2800-41E2-AA69-D02ABC7EDD76}" dt="2023-11-21T18:35:45.790" v="16956" actId="207"/>
          <ac:spMkLst>
            <pc:docMk/>
            <pc:sldMk cId="1268480979" sldId="2909"/>
            <ac:spMk id="17" creationId="{CAD5D9D9-FD0D-4006-8E2E-CA6E5D5C51B0}"/>
          </ac:spMkLst>
        </pc:spChg>
        <pc:spChg chg="mod">
          <ac:chgData name="Otavio Augusto Sabia Gava" userId="68ac195b-011b-467c-86d4-321df89323d0" providerId="ADAL" clId="{0C687AD9-2800-41E2-AA69-D02ABC7EDD76}" dt="2023-11-21T18:35:52.583" v="16958" actId="207"/>
          <ac:spMkLst>
            <pc:docMk/>
            <pc:sldMk cId="1268480979" sldId="2909"/>
            <ac:spMk id="27" creationId="{3DBC9ACE-4D9C-4151-8DF0-95AC0326CB65}"/>
          </ac:spMkLst>
        </pc:spChg>
        <pc:spChg chg="mod">
          <ac:chgData name="Otavio Augusto Sabia Gava" userId="68ac195b-011b-467c-86d4-321df89323d0" providerId="ADAL" clId="{0C687AD9-2800-41E2-AA69-D02ABC7EDD76}" dt="2023-11-21T18:35:56.737" v="16959" actId="207"/>
          <ac:spMkLst>
            <pc:docMk/>
            <pc:sldMk cId="1268480979" sldId="2909"/>
            <ac:spMk id="36" creationId="{12AD0584-2177-4031-A8FF-08F83A0AB630}"/>
          </ac:spMkLst>
        </pc:spChg>
        <pc:spChg chg="mod">
          <ac:chgData name="Otavio Augusto Sabia Gava" userId="68ac195b-011b-467c-86d4-321df89323d0" providerId="ADAL" clId="{0C687AD9-2800-41E2-AA69-D02ABC7EDD76}" dt="2023-11-21T18:35:49.133" v="16957" actId="207"/>
          <ac:spMkLst>
            <pc:docMk/>
            <pc:sldMk cId="1268480979" sldId="2909"/>
            <ac:spMk id="61" creationId="{E0F6E6A2-F2AC-488F-8F93-E4ECB04B52DE}"/>
          </ac:spMkLst>
        </pc:spChg>
        <pc:picChg chg="del">
          <ac:chgData name="Otavio Augusto Sabia Gava" userId="68ac195b-011b-467c-86d4-321df89323d0" providerId="ADAL" clId="{0C687AD9-2800-41E2-AA69-D02ABC7EDD76}" dt="2023-11-16T17:02:22.272" v="1941" actId="478"/>
          <ac:picMkLst>
            <pc:docMk/>
            <pc:sldMk cId="1268480979" sldId="2909"/>
            <ac:picMk id="6" creationId="{66201D72-FED3-74B2-C24B-202D1140784D}"/>
          </ac:picMkLst>
        </pc:picChg>
        <pc:picChg chg="add del mod">
          <ac:chgData name="Otavio Augusto Sabia Gava" userId="68ac195b-011b-467c-86d4-321df89323d0" providerId="ADAL" clId="{0C687AD9-2800-41E2-AA69-D02ABC7EDD76}" dt="2023-11-20T13:17:34.700" v="4134" actId="478"/>
          <ac:picMkLst>
            <pc:docMk/>
            <pc:sldMk cId="1268480979" sldId="2909"/>
            <ac:picMk id="6" creationId="{685DB329-0C3E-6117-FFC6-9E95C36C54EF}"/>
          </ac:picMkLst>
        </pc:picChg>
        <pc:picChg chg="add del mod">
          <ac:chgData name="Otavio Augusto Sabia Gava" userId="68ac195b-011b-467c-86d4-321df89323d0" providerId="ADAL" clId="{0C687AD9-2800-41E2-AA69-D02ABC7EDD76}" dt="2023-11-20T13:17:34.700" v="4134" actId="478"/>
          <ac:picMkLst>
            <pc:docMk/>
            <pc:sldMk cId="1268480979" sldId="2909"/>
            <ac:picMk id="7" creationId="{2A52300E-4473-6A11-972D-8DDC4422F885}"/>
          </ac:picMkLst>
        </pc:picChg>
        <pc:picChg chg="del">
          <ac:chgData name="Otavio Augusto Sabia Gava" userId="68ac195b-011b-467c-86d4-321df89323d0" providerId="ADAL" clId="{0C687AD9-2800-41E2-AA69-D02ABC7EDD76}" dt="2023-11-16T17:02:22.272" v="1941" actId="478"/>
          <ac:picMkLst>
            <pc:docMk/>
            <pc:sldMk cId="1268480979" sldId="2909"/>
            <ac:picMk id="7" creationId="{95C4467C-A4EA-282C-C7BE-A24039016177}"/>
          </ac:picMkLst>
        </pc:picChg>
        <pc:picChg chg="add del mod">
          <ac:chgData name="Otavio Augusto Sabia Gava" userId="68ac195b-011b-467c-86d4-321df89323d0" providerId="ADAL" clId="{0C687AD9-2800-41E2-AA69-D02ABC7EDD76}" dt="2023-11-20T13:17:32.454" v="4133"/>
          <ac:picMkLst>
            <pc:docMk/>
            <pc:sldMk cId="1268480979" sldId="2909"/>
            <ac:picMk id="8" creationId="{A7478878-3C19-82A5-B5CE-321F92035F14}"/>
          </ac:picMkLst>
        </pc:picChg>
        <pc:picChg chg="add del mod">
          <ac:chgData name="Otavio Augusto Sabia Gava" userId="68ac195b-011b-467c-86d4-321df89323d0" providerId="ADAL" clId="{0C687AD9-2800-41E2-AA69-D02ABC7EDD76}" dt="2023-11-20T13:17:32.454" v="4133"/>
          <ac:picMkLst>
            <pc:docMk/>
            <pc:sldMk cId="1268480979" sldId="2909"/>
            <ac:picMk id="18" creationId="{4E2D5A6F-BDFA-EEF9-75B4-19CC9CB353A8}"/>
          </ac:picMkLst>
        </pc:picChg>
        <pc:picChg chg="add mod">
          <ac:chgData name="Otavio Augusto Sabia Gava" userId="68ac195b-011b-467c-86d4-321df89323d0" providerId="ADAL" clId="{0C687AD9-2800-41E2-AA69-D02ABC7EDD76}" dt="2023-11-20T13:17:34.894" v="4135"/>
          <ac:picMkLst>
            <pc:docMk/>
            <pc:sldMk cId="1268480979" sldId="2909"/>
            <ac:picMk id="20" creationId="{81DFA1C7-DFB7-8E8B-C3DA-B12B28144BC9}"/>
          </ac:picMkLst>
        </pc:picChg>
        <pc:picChg chg="add del mod">
          <ac:chgData name="Otavio Augusto Sabia Gava" userId="68ac195b-011b-467c-86d4-321df89323d0" providerId="ADAL" clId="{0C687AD9-2800-41E2-AA69-D02ABC7EDD76}" dt="2023-11-23T13:37:47.687" v="16991" actId="478"/>
          <ac:picMkLst>
            <pc:docMk/>
            <pc:sldMk cId="1268480979" sldId="2909"/>
            <ac:picMk id="25" creationId="{5748CBF4-6664-3E1E-C7E7-6C546F3B5DB0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18.918" v="2400" actId="47"/>
        <pc:sldMkLst>
          <pc:docMk/>
          <pc:sldMk cId="66479891" sldId="2922"/>
        </pc:sldMkLst>
        <pc:spChg chg="mod">
          <ac:chgData name="Otavio Augusto Sabia Gava" userId="68ac195b-011b-467c-86d4-321df89323d0" providerId="ADAL" clId="{0C687AD9-2800-41E2-AA69-D02ABC7EDD76}" dt="2023-11-13T17:14:30.728" v="715" actId="1036"/>
          <ac:spMkLst>
            <pc:docMk/>
            <pc:sldMk cId="66479891" sldId="2922"/>
            <ac:spMk id="2" creationId="{7C19342F-4052-46FA-B844-EB42E8457DCA}"/>
          </ac:spMkLst>
        </pc:spChg>
        <pc:picChg chg="mod">
          <ac:chgData name="Otavio Augusto Sabia Gava" userId="68ac195b-011b-467c-86d4-321df89323d0" providerId="ADAL" clId="{0C687AD9-2800-41E2-AA69-D02ABC7EDD76}" dt="2023-11-13T19:24:51.121" v="1039" actId="1036"/>
          <ac:picMkLst>
            <pc:docMk/>
            <pc:sldMk cId="66479891" sldId="2922"/>
            <ac:picMk id="47" creationId="{6D2CF91B-87EA-F471-2814-3E8133243D53}"/>
          </ac:picMkLst>
        </pc:picChg>
        <pc:picChg chg="del">
          <ac:chgData name="Otavio Augusto Sabia Gava" userId="68ac195b-011b-467c-86d4-321df89323d0" providerId="ADAL" clId="{0C687AD9-2800-41E2-AA69-D02ABC7EDD76}" dt="2023-11-13T20:58:07.871" v="1485" actId="478"/>
          <ac:picMkLst>
            <pc:docMk/>
            <pc:sldMk cId="66479891" sldId="2922"/>
            <ac:picMk id="49" creationId="{D62BB898-FB65-B87E-9996-9B3832C0C109}"/>
          </ac:picMkLst>
        </pc:picChg>
        <pc:picChg chg="del">
          <ac:chgData name="Otavio Augusto Sabia Gava" userId="68ac195b-011b-467c-86d4-321df89323d0" providerId="ADAL" clId="{0C687AD9-2800-41E2-AA69-D02ABC7EDD76}" dt="2023-11-13T20:58:07.871" v="1485" actId="478"/>
          <ac:picMkLst>
            <pc:docMk/>
            <pc:sldMk cId="66479891" sldId="2922"/>
            <ac:picMk id="51" creationId="{DD8EF75E-FCA8-F878-F61C-DCA400EF7BDA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14.720" v="2396" actId="47"/>
        <pc:sldMkLst>
          <pc:docMk/>
          <pc:sldMk cId="1838709797" sldId="2925"/>
        </pc:sldMkLst>
        <pc:spChg chg="mod">
          <ac:chgData name="Otavio Augusto Sabia Gava" userId="68ac195b-011b-467c-86d4-321df89323d0" providerId="ADAL" clId="{0C687AD9-2800-41E2-AA69-D02ABC7EDD76}" dt="2023-11-13T19:21:31.368" v="993" actId="1037"/>
          <ac:spMkLst>
            <pc:docMk/>
            <pc:sldMk cId="1838709797" sldId="2925"/>
            <ac:spMk id="2" creationId="{7C19342F-4052-46FA-B844-EB42E8457DCA}"/>
          </ac:spMkLst>
        </pc:spChg>
        <pc:picChg chg="del">
          <ac:chgData name="Otavio Augusto Sabia Gava" userId="68ac195b-011b-467c-86d4-321df89323d0" providerId="ADAL" clId="{0C687AD9-2800-41E2-AA69-D02ABC7EDD76}" dt="2023-11-13T20:57:50.931" v="1479" actId="478"/>
          <ac:picMkLst>
            <pc:docMk/>
            <pc:sldMk cId="1838709797" sldId="2925"/>
            <ac:picMk id="27" creationId="{74B935F8-AB46-C923-E0A9-B68FD2A3DDA0}"/>
          </ac:picMkLst>
        </pc:picChg>
        <pc:picChg chg="mod">
          <ac:chgData name="Otavio Augusto Sabia Gava" userId="68ac195b-011b-467c-86d4-321df89323d0" providerId="ADAL" clId="{0C687AD9-2800-41E2-AA69-D02ABC7EDD76}" dt="2023-11-13T19:21:11.786" v="959" actId="1036"/>
          <ac:picMkLst>
            <pc:docMk/>
            <pc:sldMk cId="1838709797" sldId="2925"/>
            <ac:picMk id="29" creationId="{1892646C-5FE1-C3C3-C902-A2D2C4691C83}"/>
          </ac:picMkLst>
        </pc:picChg>
      </pc:sldChg>
      <pc:sldChg chg="delSp modSp add del mod">
        <pc:chgData name="Otavio Augusto Sabia Gava" userId="68ac195b-011b-467c-86d4-321df89323d0" providerId="ADAL" clId="{0C687AD9-2800-41E2-AA69-D02ABC7EDD76}" dt="2023-11-17T12:07:08.541" v="2392" actId="47"/>
        <pc:sldMkLst>
          <pc:docMk/>
          <pc:sldMk cId="3799797440" sldId="2926"/>
        </pc:sldMkLst>
        <pc:spChg chg="mod">
          <ac:chgData name="Otavio Augusto Sabia Gava" userId="68ac195b-011b-467c-86d4-321df89323d0" providerId="ADAL" clId="{0C687AD9-2800-41E2-AA69-D02ABC7EDD76}" dt="2023-11-13T19:25:03.408" v="1045" actId="1036"/>
          <ac:spMkLst>
            <pc:docMk/>
            <pc:sldMk cId="3799797440" sldId="2926"/>
            <ac:spMk id="2" creationId="{7C19342F-4052-46FA-B844-EB42E8457DCA}"/>
          </ac:spMkLst>
        </pc:spChg>
        <pc:picChg chg="del">
          <ac:chgData name="Otavio Augusto Sabia Gava" userId="68ac195b-011b-467c-86d4-321df89323d0" providerId="ADAL" clId="{0C687AD9-2800-41E2-AA69-D02ABC7EDD76}" dt="2023-11-13T20:58:10.668" v="1486" actId="478"/>
          <ac:picMkLst>
            <pc:docMk/>
            <pc:sldMk cId="3799797440" sldId="2926"/>
            <ac:picMk id="22" creationId="{B4B81CE9-A3D8-9EB0-E560-4C9EFCEF08AC}"/>
          </ac:picMkLst>
        </pc:picChg>
        <pc:picChg chg="mod">
          <ac:chgData name="Otavio Augusto Sabia Gava" userId="68ac195b-011b-467c-86d4-321df89323d0" providerId="ADAL" clId="{0C687AD9-2800-41E2-AA69-D02ABC7EDD76}" dt="2023-11-13T19:24:53.419" v="1042" actId="1036"/>
          <ac:picMkLst>
            <pc:docMk/>
            <pc:sldMk cId="3799797440" sldId="2926"/>
            <ac:picMk id="23" creationId="{890933B1-8FF3-1254-AC85-70EE7C67F244}"/>
          </ac:picMkLst>
        </pc:picChg>
      </pc:sldChg>
      <pc:sldChg chg="addSp delSp modSp mod">
        <pc:chgData name="Otavio Augusto Sabia Gava" userId="68ac195b-011b-467c-86d4-321df89323d0" providerId="ADAL" clId="{0C687AD9-2800-41E2-AA69-D02ABC7EDD76}" dt="2023-11-23T13:37:10.741" v="16990" actId="478"/>
        <pc:sldMkLst>
          <pc:docMk/>
          <pc:sldMk cId="2134159956" sldId="2959"/>
        </pc:sldMkLst>
        <pc:spChg chg="mod">
          <ac:chgData name="Otavio Augusto Sabia Gava" userId="68ac195b-011b-467c-86d4-321df89323d0" providerId="ADAL" clId="{0C687AD9-2800-41E2-AA69-D02ABC7EDD76}" dt="2023-11-20T13:24:36.706" v="4173" actId="207"/>
          <ac:spMkLst>
            <pc:docMk/>
            <pc:sldMk cId="2134159956" sldId="2959"/>
            <ac:spMk id="3" creationId="{D5A977A6-EA12-778B-442E-C00402B7D0DB}"/>
          </ac:spMkLst>
        </pc:spChg>
        <pc:spChg chg="mod">
          <ac:chgData name="Otavio Augusto Sabia Gava" userId="68ac195b-011b-467c-86d4-321df89323d0" providerId="ADAL" clId="{0C687AD9-2800-41E2-AA69-D02ABC7EDD76}" dt="2023-11-20T13:24:36.706" v="4173" actId="207"/>
          <ac:spMkLst>
            <pc:docMk/>
            <pc:sldMk cId="2134159956" sldId="2959"/>
            <ac:spMk id="4" creationId="{81F1E75D-3AC1-A3EA-FA22-BEA25153CDC7}"/>
          </ac:spMkLst>
        </pc:spChg>
        <pc:spChg chg="mod">
          <ac:chgData name="Otavio Augusto Sabia Gava" userId="68ac195b-011b-467c-86d4-321df89323d0" providerId="ADAL" clId="{0C687AD9-2800-41E2-AA69-D02ABC7EDD76}" dt="2023-11-13T19:43:57.553" v="1066" actId="1038"/>
          <ac:spMkLst>
            <pc:docMk/>
            <pc:sldMk cId="2134159956" sldId="2959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0T13:24:36.706" v="4173" actId="207"/>
          <ac:spMkLst>
            <pc:docMk/>
            <pc:sldMk cId="2134159956" sldId="2959"/>
            <ac:spMk id="6" creationId="{0AF006BB-FDBA-83A6-6089-CB3E3F0470C3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7" creationId="{AC74DCCC-5FD4-B395-1B48-CFDE66C2A652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8" creationId="{BFCA7347-BA0D-FF59-2858-E441EAE04210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9" creationId="{1860D8F5-3B39-5684-5413-9308BB6377FF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10" creationId="{B0A575AE-89BA-964A-34AA-8C3A75F6DFEB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11" creationId="{ECE65F19-BD28-D4F7-B9AD-A4D6CF5D57B8}"/>
          </ac:spMkLst>
        </pc:spChg>
        <pc:spChg chg="mod">
          <ac:chgData name="Otavio Augusto Sabia Gava" userId="68ac195b-011b-467c-86d4-321df89323d0" providerId="ADAL" clId="{0C687AD9-2800-41E2-AA69-D02ABC7EDD76}" dt="2023-11-20T13:25:15.640" v="4184" actId="208"/>
          <ac:spMkLst>
            <pc:docMk/>
            <pc:sldMk cId="2134159956" sldId="2959"/>
            <ac:spMk id="12" creationId="{19A09DA2-3C24-7518-2F74-55FD4ED386FB}"/>
          </ac:spMkLst>
        </pc:spChg>
        <pc:spChg chg="add del mod">
          <ac:chgData name="Otavio Augusto Sabia Gava" userId="68ac195b-011b-467c-86d4-321df89323d0" providerId="ADAL" clId="{0C687AD9-2800-41E2-AA69-D02ABC7EDD76}" dt="2023-11-20T13:25:29.570" v="4185" actId="403"/>
          <ac:spMkLst>
            <pc:docMk/>
            <pc:sldMk cId="2134159956" sldId="2959"/>
            <ac:spMk id="14" creationId="{20DB7A5C-56F1-C6E9-0F8C-2342DAAE5572}"/>
          </ac:spMkLst>
        </pc:spChg>
        <pc:spChg chg="mod">
          <ac:chgData name="Otavio Augusto Sabia Gava" userId="68ac195b-011b-467c-86d4-321df89323d0" providerId="ADAL" clId="{0C687AD9-2800-41E2-AA69-D02ABC7EDD76}" dt="2023-11-20T13:25:33.751" v="4186" actId="403"/>
          <ac:spMkLst>
            <pc:docMk/>
            <pc:sldMk cId="2134159956" sldId="2959"/>
            <ac:spMk id="15" creationId="{FFB16BF4-7DDF-773B-0DD1-02E45788CCDC}"/>
          </ac:spMkLst>
        </pc:spChg>
        <pc:spChg chg="mod">
          <ac:chgData name="Otavio Augusto Sabia Gava" userId="68ac195b-011b-467c-86d4-321df89323d0" providerId="ADAL" clId="{0C687AD9-2800-41E2-AA69-D02ABC7EDD76}" dt="2023-11-22T17:48:46.473" v="16982" actId="1076"/>
          <ac:spMkLst>
            <pc:docMk/>
            <pc:sldMk cId="2134159956" sldId="2959"/>
            <ac:spMk id="47" creationId="{CA9D0BBD-D494-4866-B299-5429145ECD8A}"/>
          </ac:spMkLst>
        </pc:spChg>
        <pc:picChg chg="add mod">
          <ac:chgData name="Otavio Augusto Sabia Gava" userId="68ac195b-011b-467c-86d4-321df89323d0" providerId="ADAL" clId="{0C687AD9-2800-41E2-AA69-D02ABC7EDD76}" dt="2023-11-23T13:37:04.794" v="16989"/>
          <ac:picMkLst>
            <pc:docMk/>
            <pc:sldMk cId="2134159956" sldId="2959"/>
            <ac:picMk id="2" creationId="{B08CFAAB-43E4-DC37-7298-CF5A0DF2DD22}"/>
          </ac:picMkLst>
        </pc:picChg>
        <pc:picChg chg="add del mod">
          <ac:chgData name="Otavio Augusto Sabia Gava" userId="68ac195b-011b-467c-86d4-321df89323d0" providerId="ADAL" clId="{0C687AD9-2800-41E2-AA69-D02ABC7EDD76}" dt="2023-11-23T13:37:10.741" v="16990" actId="478"/>
          <ac:picMkLst>
            <pc:docMk/>
            <pc:sldMk cId="2134159956" sldId="2959"/>
            <ac:picMk id="13" creationId="{2A72AD8A-BC77-E1D5-D3AC-4A5B2673A2EA}"/>
          </ac:picMkLst>
        </pc:picChg>
        <pc:picChg chg="del">
          <ac:chgData name="Otavio Augusto Sabia Gava" userId="68ac195b-011b-467c-86d4-321df89323d0" providerId="ADAL" clId="{0C687AD9-2800-41E2-AA69-D02ABC7EDD76}" dt="2023-11-13T20:58:35.271" v="1493" actId="478"/>
          <ac:picMkLst>
            <pc:docMk/>
            <pc:sldMk cId="2134159956" sldId="2959"/>
            <ac:picMk id="16" creationId="{9BF908BF-0D69-798E-A266-A13CF5D5ED0D}"/>
          </ac:picMkLst>
        </pc:picChg>
      </pc:sldChg>
      <pc:sldChg chg="del">
        <pc:chgData name="Otavio Augusto Sabia Gava" userId="68ac195b-011b-467c-86d4-321df89323d0" providerId="ADAL" clId="{0C687AD9-2800-41E2-AA69-D02ABC7EDD76}" dt="2023-11-13T14:19:41.844" v="486" actId="47"/>
        <pc:sldMkLst>
          <pc:docMk/>
          <pc:sldMk cId="1457784110" sldId="2962"/>
        </pc:sldMkLst>
      </pc:sldChg>
      <pc:sldChg chg="modSp add del mod ord">
        <pc:chgData name="Otavio Augusto Sabia Gava" userId="68ac195b-011b-467c-86d4-321df89323d0" providerId="ADAL" clId="{0C687AD9-2800-41E2-AA69-D02ABC7EDD76}" dt="2023-11-21T11:27:55.900" v="11443" actId="47"/>
        <pc:sldMkLst>
          <pc:docMk/>
          <pc:sldMk cId="2908789778" sldId="2978"/>
        </pc:sldMkLst>
        <pc:graphicFrameChg chg="modGraphic">
          <ac:chgData name="Otavio Augusto Sabia Gava" userId="68ac195b-011b-467c-86d4-321df89323d0" providerId="ADAL" clId="{0C687AD9-2800-41E2-AA69-D02ABC7EDD76}" dt="2023-11-20T21:07:29.015" v="8067" actId="13926"/>
          <ac:graphicFrameMkLst>
            <pc:docMk/>
            <pc:sldMk cId="2908789778" sldId="2978"/>
            <ac:graphicFrameMk id="2" creationId="{A36F828C-4D81-6738-C0EC-0179B9212D66}"/>
          </ac:graphicFrameMkLst>
        </pc:graphicFrameChg>
      </pc:sldChg>
      <pc:sldChg chg="delSp del mod">
        <pc:chgData name="Otavio Augusto Sabia Gava" userId="68ac195b-011b-467c-86d4-321df89323d0" providerId="ADAL" clId="{0C687AD9-2800-41E2-AA69-D02ABC7EDD76}" dt="2023-11-16T19:32:50.420" v="2214" actId="2696"/>
        <pc:sldMkLst>
          <pc:docMk/>
          <pc:sldMk cId="3200055355" sldId="2978"/>
        </pc:sldMkLst>
        <pc:picChg chg="del">
          <ac:chgData name="Otavio Augusto Sabia Gava" userId="68ac195b-011b-467c-86d4-321df89323d0" providerId="ADAL" clId="{0C687AD9-2800-41E2-AA69-D02ABC7EDD76}" dt="2023-11-13T20:58:12.874" v="1487" actId="478"/>
          <ac:picMkLst>
            <pc:docMk/>
            <pc:sldMk cId="3200055355" sldId="2978"/>
            <ac:picMk id="5" creationId="{9817DDCB-51E9-7AFA-0EB9-8A9F28633A58}"/>
          </ac:picMkLst>
        </pc:picChg>
        <pc:picChg chg="del">
          <ac:chgData name="Otavio Augusto Sabia Gava" userId="68ac195b-011b-467c-86d4-321df89323d0" providerId="ADAL" clId="{0C687AD9-2800-41E2-AA69-D02ABC7EDD76}" dt="2023-11-13T20:58:12.874" v="1487" actId="478"/>
          <ac:picMkLst>
            <pc:docMk/>
            <pc:sldMk cId="3200055355" sldId="2978"/>
            <ac:picMk id="6" creationId="{2FCA6AFB-6240-3CFB-4F61-37297ADC0E35}"/>
          </ac:picMkLst>
        </pc:picChg>
      </pc:sldChg>
      <pc:sldChg chg="delSp modSp del mod">
        <pc:chgData name="Otavio Augusto Sabia Gava" userId="68ac195b-011b-467c-86d4-321df89323d0" providerId="ADAL" clId="{0C687AD9-2800-41E2-AA69-D02ABC7EDD76}" dt="2023-11-16T19:32:50.420" v="2214" actId="2696"/>
        <pc:sldMkLst>
          <pc:docMk/>
          <pc:sldMk cId="2140708030" sldId="2979"/>
        </pc:sldMkLst>
        <pc:graphicFrameChg chg="modGraphic">
          <ac:chgData name="Otavio Augusto Sabia Gava" userId="68ac195b-011b-467c-86d4-321df89323d0" providerId="ADAL" clId="{0C687AD9-2800-41E2-AA69-D02ABC7EDD76}" dt="2023-11-13T20:58:17.084" v="1489" actId="14734"/>
          <ac:graphicFrameMkLst>
            <pc:docMk/>
            <pc:sldMk cId="2140708030" sldId="2979"/>
            <ac:graphicFrameMk id="2" creationId="{A36F828C-4D81-6738-C0EC-0179B9212D66}"/>
          </ac:graphicFrameMkLst>
        </pc:graphicFrameChg>
        <pc:picChg chg="del">
          <ac:chgData name="Otavio Augusto Sabia Gava" userId="68ac195b-011b-467c-86d4-321df89323d0" providerId="ADAL" clId="{0C687AD9-2800-41E2-AA69-D02ABC7EDD76}" dt="2023-11-13T20:58:19.838" v="1490" actId="478"/>
          <ac:picMkLst>
            <pc:docMk/>
            <pc:sldMk cId="2140708030" sldId="2979"/>
            <ac:picMk id="8" creationId="{4139BA5A-EB33-1297-F791-83FF5D591918}"/>
          </ac:picMkLst>
        </pc:picChg>
        <pc:picChg chg="del">
          <ac:chgData name="Otavio Augusto Sabia Gava" userId="68ac195b-011b-467c-86d4-321df89323d0" providerId="ADAL" clId="{0C687AD9-2800-41E2-AA69-D02ABC7EDD76}" dt="2023-11-13T20:58:19.838" v="1490" actId="478"/>
          <ac:picMkLst>
            <pc:docMk/>
            <pc:sldMk cId="2140708030" sldId="2979"/>
            <ac:picMk id="9" creationId="{02E15924-6134-E8AD-2BB1-02B2F26C8F38}"/>
          </ac:picMkLst>
        </pc:picChg>
      </pc:sldChg>
      <pc:sldChg chg="modSp add del mod ord">
        <pc:chgData name="Otavio Augusto Sabia Gava" userId="68ac195b-011b-467c-86d4-321df89323d0" providerId="ADAL" clId="{0C687AD9-2800-41E2-AA69-D02ABC7EDD76}" dt="2023-11-21T11:27:56.906" v="11444" actId="47"/>
        <pc:sldMkLst>
          <pc:docMk/>
          <pc:sldMk cId="3591575490" sldId="2979"/>
        </pc:sldMkLst>
        <pc:graphicFrameChg chg="modGraphic">
          <ac:chgData name="Otavio Augusto Sabia Gava" userId="68ac195b-011b-467c-86d4-321df89323d0" providerId="ADAL" clId="{0C687AD9-2800-41E2-AA69-D02ABC7EDD76}" dt="2023-11-20T21:07:34.195" v="8068" actId="13926"/>
          <ac:graphicFrameMkLst>
            <pc:docMk/>
            <pc:sldMk cId="3591575490" sldId="2979"/>
            <ac:graphicFrameMk id="2" creationId="{A36F828C-4D81-6738-C0EC-0179B9212D66}"/>
          </ac:graphicFrameMkLst>
        </pc:graphicFrameChg>
      </pc:sldChg>
      <pc:sldChg chg="modSp add del mod ord">
        <pc:chgData name="Otavio Augusto Sabia Gava" userId="68ac195b-011b-467c-86d4-321df89323d0" providerId="ADAL" clId="{0C687AD9-2800-41E2-AA69-D02ABC7EDD76}" dt="2023-11-21T11:27:58.068" v="11445" actId="47"/>
        <pc:sldMkLst>
          <pc:docMk/>
          <pc:sldMk cId="1056401711" sldId="2981"/>
        </pc:sldMkLst>
        <pc:graphicFrameChg chg="modGraphic">
          <ac:chgData name="Otavio Augusto Sabia Gava" userId="68ac195b-011b-467c-86d4-321df89323d0" providerId="ADAL" clId="{0C687AD9-2800-41E2-AA69-D02ABC7EDD76}" dt="2023-11-20T21:07:40.914" v="8069" actId="13926"/>
          <ac:graphicFrameMkLst>
            <pc:docMk/>
            <pc:sldMk cId="1056401711" sldId="2981"/>
            <ac:graphicFrameMk id="2" creationId="{A36F828C-4D81-6738-C0EC-0179B9212D66}"/>
          </ac:graphicFrameMkLst>
        </pc:graphicFrameChg>
      </pc:sldChg>
      <pc:sldChg chg="delSp del mod">
        <pc:chgData name="Otavio Augusto Sabia Gava" userId="68ac195b-011b-467c-86d4-321df89323d0" providerId="ADAL" clId="{0C687AD9-2800-41E2-AA69-D02ABC7EDD76}" dt="2023-11-16T19:32:50.420" v="2214" actId="2696"/>
        <pc:sldMkLst>
          <pc:docMk/>
          <pc:sldMk cId="2939813123" sldId="2981"/>
        </pc:sldMkLst>
        <pc:picChg chg="del">
          <ac:chgData name="Otavio Augusto Sabia Gava" userId="68ac195b-011b-467c-86d4-321df89323d0" providerId="ADAL" clId="{0C687AD9-2800-41E2-AA69-D02ABC7EDD76}" dt="2023-11-13T20:58:22.543" v="1491" actId="478"/>
          <ac:picMkLst>
            <pc:docMk/>
            <pc:sldMk cId="2939813123" sldId="2981"/>
            <ac:picMk id="10" creationId="{BCC9EDEF-A089-E166-A55B-FB405144223A}"/>
          </ac:picMkLst>
        </pc:picChg>
      </pc:sldChg>
      <pc:sldChg chg="delSp modSp add del mod ord">
        <pc:chgData name="Otavio Augusto Sabia Gava" userId="68ac195b-011b-467c-86d4-321df89323d0" providerId="ADAL" clId="{0C687AD9-2800-41E2-AA69-D02ABC7EDD76}" dt="2024-01-14T01:01:17.960" v="30621" actId="47"/>
        <pc:sldMkLst>
          <pc:docMk/>
          <pc:sldMk cId="2426282449" sldId="2982"/>
        </pc:sldMkLst>
        <pc:spChg chg="mod">
          <ac:chgData name="Otavio Augusto Sabia Gava" userId="68ac195b-011b-467c-86d4-321df89323d0" providerId="ADAL" clId="{0C687AD9-2800-41E2-AA69-D02ABC7EDD76}" dt="2023-11-13T14:39:37.285" v="510" actId="20577"/>
          <ac:spMkLst>
            <pc:docMk/>
            <pc:sldMk cId="2426282449" sldId="2982"/>
            <ac:spMk id="5" creationId="{8CAF8953-CDB4-456B-909E-CD897CD94DED}"/>
          </ac:spMkLst>
        </pc:spChg>
        <pc:spChg chg="mod">
          <ac:chgData name="Otavio Augusto Sabia Gava" userId="68ac195b-011b-467c-86d4-321df89323d0" providerId="ADAL" clId="{0C687AD9-2800-41E2-AA69-D02ABC7EDD76}" dt="2023-11-13T12:17:39.727" v="265" actId="113"/>
          <ac:spMkLst>
            <pc:docMk/>
            <pc:sldMk cId="2426282449" sldId="2982"/>
            <ac:spMk id="6" creationId="{C2C3C771-D008-4C33-A760-03865DFCD366}"/>
          </ac:spMkLst>
        </pc:spChg>
        <pc:grpChg chg="mod">
          <ac:chgData name="Otavio Augusto Sabia Gava" userId="68ac195b-011b-467c-86d4-321df89323d0" providerId="ADAL" clId="{0C687AD9-2800-41E2-AA69-D02ABC7EDD76}" dt="2023-12-05T15:11:58.282" v="30607" actId="1038"/>
          <ac:grpSpMkLst>
            <pc:docMk/>
            <pc:sldMk cId="2426282449" sldId="2982"/>
            <ac:grpSpMk id="3" creationId="{37AB1405-4308-0B0F-0B83-FF384B476C7C}"/>
          </ac:grpSpMkLst>
        </pc:grp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2" creationId="{33C7B6DB-1DC5-454C-9BBA-EA774CEDEF48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4" creationId="{D6C305CC-1327-7F6A-CF4E-6A9B2080A379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12" creationId="{4B00C8A5-E5E4-FC2A-E783-D3FEC09A83D8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1028" creationId="{35144E3A-EBAB-6833-BF48-D638E9A95046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2050" creationId="{D2535B9A-C6B9-45A1-953D-346126B2BE14}"/>
          </ac:picMkLst>
        </pc:picChg>
        <pc:picChg chg="del">
          <ac:chgData name="Otavio Augusto Sabia Gava" userId="68ac195b-011b-467c-86d4-321df89323d0" providerId="ADAL" clId="{0C687AD9-2800-41E2-AA69-D02ABC7EDD76}" dt="2023-12-05T15:09:14.898" v="30285" actId="478"/>
          <ac:picMkLst>
            <pc:docMk/>
            <pc:sldMk cId="2426282449" sldId="2982"/>
            <ac:picMk id="2052" creationId="{CC0BA21C-F611-4A87-8119-E54DF7E45DC8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2054" creationId="{7114465B-FC87-4570-BE55-1AC06C723045}"/>
          </ac:picMkLst>
        </pc:picChg>
        <pc:picChg chg="mod">
          <ac:chgData name="Otavio Augusto Sabia Gava" userId="68ac195b-011b-467c-86d4-321df89323d0" providerId="ADAL" clId="{0C687AD9-2800-41E2-AA69-D02ABC7EDD76}" dt="2023-12-05T15:11:58.282" v="30607" actId="1038"/>
          <ac:picMkLst>
            <pc:docMk/>
            <pc:sldMk cId="2426282449" sldId="2982"/>
            <ac:picMk id="2056" creationId="{C411767E-6F41-4546-87F6-2C46463FF93D}"/>
          </ac:picMkLst>
        </pc:picChg>
      </pc:sldChg>
      <pc:sldChg chg="modSp add mod modNotesTx">
        <pc:chgData name="Otavio Augusto Sabia Gava" userId="68ac195b-011b-467c-86d4-321df89323d0" providerId="ADAL" clId="{0C687AD9-2800-41E2-AA69-D02ABC7EDD76}" dt="2023-11-20T02:36:43.893" v="2939" actId="20577"/>
        <pc:sldMkLst>
          <pc:docMk/>
          <pc:sldMk cId="2277643274" sldId="2983"/>
        </pc:sldMkLst>
        <pc:spChg chg="mod">
          <ac:chgData name="Otavio Augusto Sabia Gava" userId="68ac195b-011b-467c-86d4-321df89323d0" providerId="ADAL" clId="{0C687AD9-2800-41E2-AA69-D02ABC7EDD76}" dt="2023-11-13T20:01:55.702" v="1129" actId="207"/>
          <ac:spMkLst>
            <pc:docMk/>
            <pc:sldMk cId="2277643274" sldId="2983"/>
            <ac:spMk id="25" creationId="{91E3D61C-8525-4C90-80F1-B4FD96E42E54}"/>
          </ac:spMkLst>
        </pc:spChg>
      </pc:sldChg>
      <pc:sldChg chg="add del">
        <pc:chgData name="Otavio Augusto Sabia Gava" userId="68ac195b-011b-467c-86d4-321df89323d0" providerId="ADAL" clId="{0C687AD9-2800-41E2-AA69-D02ABC7EDD76}" dt="2023-11-13T14:05:59.725" v="430"/>
        <pc:sldMkLst>
          <pc:docMk/>
          <pc:sldMk cId="3877797115" sldId="2983"/>
        </pc:sldMkLst>
      </pc:sldChg>
      <pc:sldChg chg="addSp modSp add mod modShow">
        <pc:chgData name="Otavio Augusto Sabia Gava" userId="68ac195b-011b-467c-86d4-321df89323d0" providerId="ADAL" clId="{0C687AD9-2800-41E2-AA69-D02ABC7EDD76}" dt="2024-02-23T16:51:28.449" v="30660" actId="729"/>
        <pc:sldMkLst>
          <pc:docMk/>
          <pc:sldMk cId="2663045011" sldId="2984"/>
        </pc:sldMkLst>
        <pc:spChg chg="mod">
          <ac:chgData name="Otavio Augusto Sabia Gava" userId="68ac195b-011b-467c-86d4-321df89323d0" providerId="ADAL" clId="{0C687AD9-2800-41E2-AA69-D02ABC7EDD76}" dt="2023-11-17T14:02:49.255" v="2505" actId="1035"/>
          <ac:spMkLst>
            <pc:docMk/>
            <pc:sldMk cId="2663045011" sldId="2984"/>
            <ac:spMk id="4" creationId="{841D2EC1-2405-7246-E949-CC15A3C15EA6}"/>
          </ac:spMkLst>
        </pc:spChg>
        <pc:picChg chg="add mod">
          <ac:chgData name="Otavio Augusto Sabia Gava" userId="68ac195b-011b-467c-86d4-321df89323d0" providerId="ADAL" clId="{0C687AD9-2800-41E2-AA69-D02ABC7EDD76}" dt="2023-11-21T11:27:17.443" v="11442"/>
          <ac:picMkLst>
            <pc:docMk/>
            <pc:sldMk cId="2663045011" sldId="2984"/>
            <ac:picMk id="7" creationId="{C66FF915-E5FB-8CD9-57FA-AB73FC94525A}"/>
          </ac:picMkLst>
        </pc:picChg>
      </pc:sldChg>
      <pc:sldChg chg="add del mod modShow">
        <pc:chgData name="Otavio Augusto Sabia Gava" userId="68ac195b-011b-467c-86d4-321df89323d0" providerId="ADAL" clId="{0C687AD9-2800-41E2-AA69-D02ABC7EDD76}" dt="2024-02-21T18:58:25.425" v="30659" actId="729"/>
        <pc:sldMkLst>
          <pc:docMk/>
          <pc:sldMk cId="1731707379" sldId="2999"/>
        </pc:sldMkLst>
      </pc:sldChg>
      <pc:sldChg chg="addSp delSp modSp add mod modShow">
        <pc:chgData name="Otavio Augusto Sabia Gava" userId="68ac195b-011b-467c-86d4-321df89323d0" providerId="ADAL" clId="{0C687AD9-2800-41E2-AA69-D02ABC7EDD76}" dt="2024-01-14T01:05:35.116" v="30625" actId="729"/>
        <pc:sldMkLst>
          <pc:docMk/>
          <pc:sldMk cId="2498501827" sldId="3000"/>
        </pc:sldMkLst>
        <pc:spChg chg="mod">
          <ac:chgData name="Otavio Augusto Sabia Gava" userId="68ac195b-011b-467c-86d4-321df89323d0" providerId="ADAL" clId="{0C687AD9-2800-41E2-AA69-D02ABC7EDD76}" dt="2023-11-27T12:13:40.898" v="17677" actId="1036"/>
          <ac:spMkLst>
            <pc:docMk/>
            <pc:sldMk cId="2498501827" sldId="3000"/>
            <ac:spMk id="3" creationId="{C833DD01-8F6C-E049-9210-BB7588610BAB}"/>
          </ac:spMkLst>
        </pc:spChg>
        <pc:picChg chg="add del mod">
          <ac:chgData name="Otavio Augusto Sabia Gava" userId="68ac195b-011b-467c-86d4-321df89323d0" providerId="ADAL" clId="{0C687AD9-2800-41E2-AA69-D02ABC7EDD76}" dt="2023-11-29T17:43:28.046" v="28655" actId="478"/>
          <ac:picMkLst>
            <pc:docMk/>
            <pc:sldMk cId="2498501827" sldId="3000"/>
            <ac:picMk id="6" creationId="{99413CDF-347B-AEC8-1D94-B8453B31691A}"/>
          </ac:picMkLst>
        </pc:picChg>
        <pc:picChg chg="add del mod">
          <ac:chgData name="Otavio Augusto Sabia Gava" userId="68ac195b-011b-467c-86d4-321df89323d0" providerId="ADAL" clId="{0C687AD9-2800-41E2-AA69-D02ABC7EDD76}" dt="2023-11-27T12:14:03.936" v="17679" actId="478"/>
          <ac:picMkLst>
            <pc:docMk/>
            <pc:sldMk cId="2498501827" sldId="3000"/>
            <ac:picMk id="9" creationId="{3B010401-7A0E-C901-8838-173E02403FE6}"/>
          </ac:picMkLst>
        </pc:picChg>
      </pc:sldChg>
      <pc:sldChg chg="add del">
        <pc:chgData name="Otavio Augusto Sabia Gava" userId="68ac195b-011b-467c-86d4-321df89323d0" providerId="ADAL" clId="{0C687AD9-2800-41E2-AA69-D02ABC7EDD76}" dt="2023-11-13T14:05:59.725" v="430"/>
        <pc:sldMkLst>
          <pc:docMk/>
          <pc:sldMk cId="3075342081" sldId="3000"/>
        </pc:sldMkLst>
      </pc:sldChg>
      <pc:sldChg chg="delSp modSp add mod modShow modNotesTx">
        <pc:chgData name="Otavio Augusto Sabia Gava" userId="68ac195b-011b-467c-86d4-321df89323d0" providerId="ADAL" clId="{0C687AD9-2800-41E2-AA69-D02ABC7EDD76}" dt="2023-11-20T02:36:18.133" v="2936" actId="20577"/>
        <pc:sldMkLst>
          <pc:docMk/>
          <pc:sldMk cId="3825079526" sldId="3001"/>
        </pc:sldMkLst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4" creationId="{045E2777-DB79-6565-6843-F2C532BBD5B5}"/>
          </ac:spMkLst>
        </pc:spChg>
        <pc:spChg chg="mod">
          <ac:chgData name="Otavio Augusto Sabia Gava" userId="68ac195b-011b-467c-86d4-321df89323d0" providerId="ADAL" clId="{0C687AD9-2800-41E2-AA69-D02ABC7EDD76}" dt="2023-11-13T14:49:19.892" v="535" actId="20577"/>
          <ac:spMkLst>
            <pc:docMk/>
            <pc:sldMk cId="3825079526" sldId="3001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8" creationId="{DE84DC2B-518F-683F-2905-9C5C0D4DE023}"/>
          </ac:spMkLst>
        </pc:spChg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10" creationId="{41E009B0-6641-EEA7-90E8-9B46C60EB16C}"/>
          </ac:spMkLst>
        </pc:spChg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12" creationId="{D9D7C96A-D124-DC14-2A61-516EB2DFD5DF}"/>
          </ac:spMkLst>
        </pc:spChg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14" creationId="{AB4FEBD7-7BDD-1899-3B3E-8F1E552646D9}"/>
          </ac:spMkLst>
        </pc:spChg>
        <pc:spChg chg="del">
          <ac:chgData name="Otavio Augusto Sabia Gava" userId="68ac195b-011b-467c-86d4-321df89323d0" providerId="ADAL" clId="{0C687AD9-2800-41E2-AA69-D02ABC7EDD76}" dt="2023-11-13T20:20:41.756" v="1205" actId="478"/>
          <ac:spMkLst>
            <pc:docMk/>
            <pc:sldMk cId="3825079526" sldId="3001"/>
            <ac:spMk id="15" creationId="{8341B156-5117-A0C3-B7C6-C28DEC2E977B}"/>
          </ac:spMkLst>
        </pc:spChg>
        <pc:picChg chg="del">
          <ac:chgData name="Otavio Augusto Sabia Gava" userId="68ac195b-011b-467c-86d4-321df89323d0" providerId="ADAL" clId="{0C687AD9-2800-41E2-AA69-D02ABC7EDD76}" dt="2023-11-13T20:56:49.376" v="1457" actId="478"/>
          <ac:picMkLst>
            <pc:docMk/>
            <pc:sldMk cId="3825079526" sldId="3001"/>
            <ac:picMk id="82" creationId="{BB855A88-415A-4C3F-BFC2-2BFA5BA7DAC4}"/>
          </ac:picMkLst>
        </pc:picChg>
        <pc:picChg chg="del">
          <ac:chgData name="Otavio Augusto Sabia Gava" userId="68ac195b-011b-467c-86d4-321df89323d0" providerId="ADAL" clId="{0C687AD9-2800-41E2-AA69-D02ABC7EDD76}" dt="2023-11-13T20:56:49.376" v="1457" actId="478"/>
          <ac:picMkLst>
            <pc:docMk/>
            <pc:sldMk cId="3825079526" sldId="3001"/>
            <ac:picMk id="84" creationId="{01FCA192-1C75-43C5-85B5-0733B25DD09B}"/>
          </ac:picMkLst>
        </pc:picChg>
      </pc:sldChg>
      <pc:sldChg chg="modSp add mod modShow">
        <pc:chgData name="Otavio Augusto Sabia Gava" userId="68ac195b-011b-467c-86d4-321df89323d0" providerId="ADAL" clId="{0C687AD9-2800-41E2-AA69-D02ABC7EDD76}" dt="2023-12-05T15:15:19.886" v="30608" actId="729"/>
        <pc:sldMkLst>
          <pc:docMk/>
          <pc:sldMk cId="820196488" sldId="3002"/>
        </pc:sldMkLst>
        <pc:spChg chg="mod">
          <ac:chgData name="Otavio Augusto Sabia Gava" userId="68ac195b-011b-467c-86d4-321df89323d0" providerId="ADAL" clId="{0C687AD9-2800-41E2-AA69-D02ABC7EDD76}" dt="2023-11-16T19:51:48.629" v="2217" actId="20577"/>
          <ac:spMkLst>
            <pc:docMk/>
            <pc:sldMk cId="820196488" sldId="3002"/>
            <ac:spMk id="3" creationId="{126479F0-32E4-4FE3-AC2D-380012FE8EFB}"/>
          </ac:spMkLst>
        </pc:spChg>
        <pc:spChg chg="mod">
          <ac:chgData name="Otavio Augusto Sabia Gava" userId="68ac195b-011b-467c-86d4-321df89323d0" providerId="ADAL" clId="{0C687AD9-2800-41E2-AA69-D02ABC7EDD76}" dt="2023-11-17T12:23:09.980" v="2494" actId="20577"/>
          <ac:spMkLst>
            <pc:docMk/>
            <pc:sldMk cId="820196488" sldId="3002"/>
            <ac:spMk id="5" creationId="{A943FD85-4D47-4A59-B83F-B493C1EA0C31}"/>
          </ac:spMkLst>
        </pc:spChg>
      </pc:sldChg>
      <pc:sldChg chg="addSp delSp modSp add mod ord modShow">
        <pc:chgData name="Otavio Augusto Sabia Gava" userId="68ac195b-011b-467c-86d4-321df89323d0" providerId="ADAL" clId="{0C687AD9-2800-41E2-AA69-D02ABC7EDD76}" dt="2024-02-21T18:42:05.680" v="30658" actId="729"/>
        <pc:sldMkLst>
          <pc:docMk/>
          <pc:sldMk cId="207592446" sldId="3003"/>
        </pc:sldMkLst>
        <pc:spChg chg="mod">
          <ac:chgData name="Otavio Augusto Sabia Gava" userId="68ac195b-011b-467c-86d4-321df89323d0" providerId="ADAL" clId="{0C687AD9-2800-41E2-AA69-D02ABC7EDD76}" dt="2023-12-04T16:43:43.778" v="30264" actId="20577"/>
          <ac:spMkLst>
            <pc:docMk/>
            <pc:sldMk cId="207592446" sldId="3003"/>
            <ac:spMk id="3" creationId="{F854C607-31FB-491E-909C-871D43087A79}"/>
          </ac:spMkLst>
        </pc:spChg>
        <pc:picChg chg="add mod">
          <ac:chgData name="Otavio Augusto Sabia Gava" userId="68ac195b-011b-467c-86d4-321df89323d0" providerId="ADAL" clId="{0C687AD9-2800-41E2-AA69-D02ABC7EDD76}" dt="2024-02-01T17:56:41.463" v="30637"/>
          <ac:picMkLst>
            <pc:docMk/>
            <pc:sldMk cId="207592446" sldId="3003"/>
            <ac:picMk id="5" creationId="{AD2A7553-7783-F727-AFA6-4AB9B1B6E013}"/>
          </ac:picMkLst>
        </pc:picChg>
        <pc:picChg chg="add del mod">
          <ac:chgData name="Otavio Augusto Sabia Gava" userId="68ac195b-011b-467c-86d4-321df89323d0" providerId="ADAL" clId="{0C687AD9-2800-41E2-AA69-D02ABC7EDD76}" dt="2023-11-20T13:23:13.535" v="4159" actId="478"/>
          <ac:picMkLst>
            <pc:docMk/>
            <pc:sldMk cId="207592446" sldId="3003"/>
            <ac:picMk id="6" creationId="{2B96E993-5D7D-8C87-9839-4EA960C975AC}"/>
          </ac:picMkLst>
        </pc:picChg>
        <pc:picChg chg="add mod">
          <ac:chgData name="Otavio Augusto Sabia Gava" userId="68ac195b-011b-467c-86d4-321df89323d0" providerId="ADAL" clId="{0C687AD9-2800-41E2-AA69-D02ABC7EDD76}" dt="2023-11-22T12:22:30.904" v="16974"/>
          <ac:picMkLst>
            <pc:docMk/>
            <pc:sldMk cId="207592446" sldId="3003"/>
            <ac:picMk id="7" creationId="{5A943FE2-E1C8-7101-7CD2-96CF31234909}"/>
          </ac:picMkLst>
        </pc:picChg>
        <pc:picChg chg="del">
          <ac:chgData name="Otavio Augusto Sabia Gava" userId="68ac195b-011b-467c-86d4-321df89323d0" providerId="ADAL" clId="{0C687AD9-2800-41E2-AA69-D02ABC7EDD76}" dt="2023-11-13T20:58:47.548" v="1495" actId="478"/>
          <ac:picMkLst>
            <pc:docMk/>
            <pc:sldMk cId="207592446" sldId="3003"/>
            <ac:picMk id="76" creationId="{C5E9F2A4-8CC8-4705-90FE-2BFC08EB4B9E}"/>
          </ac:picMkLst>
        </pc:picChg>
      </pc:sldChg>
      <pc:sldChg chg="addSp modSp add mod modShow">
        <pc:chgData name="Otavio Augusto Sabia Gava" userId="68ac195b-011b-467c-86d4-321df89323d0" providerId="ADAL" clId="{0C687AD9-2800-41E2-AA69-D02ABC7EDD76}" dt="2024-02-01T17:56:49.742" v="30638"/>
        <pc:sldMkLst>
          <pc:docMk/>
          <pc:sldMk cId="1247452186" sldId="3004"/>
        </pc:sldMkLst>
        <pc:spChg chg="mod">
          <ac:chgData name="Otavio Augusto Sabia Gava" userId="68ac195b-011b-467c-86d4-321df89323d0" providerId="ADAL" clId="{0C687AD9-2800-41E2-AA69-D02ABC7EDD76}" dt="2023-11-13T15:13:46.345" v="608"/>
          <ac:spMkLst>
            <pc:docMk/>
            <pc:sldMk cId="1247452186" sldId="3004"/>
            <ac:spMk id="3" creationId="{9973AD21-34CE-4BB7-B543-D82820144BA6}"/>
          </ac:spMkLst>
        </pc:spChg>
        <pc:picChg chg="add mod">
          <ac:chgData name="Otavio Augusto Sabia Gava" userId="68ac195b-011b-467c-86d4-321df89323d0" providerId="ADAL" clId="{0C687AD9-2800-41E2-AA69-D02ABC7EDD76}" dt="2024-02-01T17:56:49.742" v="30638"/>
          <ac:picMkLst>
            <pc:docMk/>
            <pc:sldMk cId="1247452186" sldId="3004"/>
            <ac:picMk id="4" creationId="{5C0E059A-5F4D-AC6A-DA4C-5C198025425D}"/>
          </ac:picMkLst>
        </pc:picChg>
        <pc:picChg chg="add mod">
          <ac:chgData name="Otavio Augusto Sabia Gava" userId="68ac195b-011b-467c-86d4-321df89323d0" providerId="ADAL" clId="{0C687AD9-2800-41E2-AA69-D02ABC7EDD76}" dt="2023-11-20T13:22:34.907" v="4152"/>
          <ac:picMkLst>
            <pc:docMk/>
            <pc:sldMk cId="1247452186" sldId="3004"/>
            <ac:picMk id="5" creationId="{9C5FB33C-7F72-2373-4F75-984E4D30441C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7T12:07:35.653" v="2407" actId="47"/>
        <pc:sldMkLst>
          <pc:docMk/>
          <pc:sldMk cId="394083929" sldId="3005"/>
        </pc:sldMkLst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3" creationId="{127A5B30-3180-4C0B-B169-D8050628F99F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4" creationId="{4048B05F-BC88-4ABE-8CF5-5DF5FBD3401D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5" creationId="{465CE91D-1F9E-4931-A5C2-D3242BE39933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6" creationId="{0C0725C9-C148-4EDA-8D9D-0DBDAD296FA6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7" creationId="{5FC094C7-BE9F-4E64-9ABB-210246C9B34B}"/>
          </ac:spMkLst>
        </pc:spChg>
        <pc:spChg chg="add del mod">
          <ac:chgData name="Otavio Augusto Sabia Gava" userId="68ac195b-011b-467c-86d4-321df89323d0" providerId="ADAL" clId="{0C687AD9-2800-41E2-AA69-D02ABC7EDD76}" dt="2023-11-13T19:16:41.520" v="735" actId="1036"/>
          <ac:spMkLst>
            <pc:docMk/>
            <pc:sldMk cId="394083929" sldId="3005"/>
            <ac:spMk id="8" creationId="{485FFE47-035E-A3CF-44BA-3271B22F269E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9" creationId="{9BEECEA7-77F7-420C-A349-807D5900B5D8}"/>
          </ac:spMkLst>
        </pc:spChg>
        <pc:spChg chg="del">
          <ac:chgData name="Otavio Augusto Sabia Gava" userId="68ac195b-011b-467c-86d4-321df89323d0" providerId="ADAL" clId="{0C687AD9-2800-41E2-AA69-D02ABC7EDD76}" dt="2023-11-13T19:16:26.110" v="724" actId="478"/>
          <ac:spMkLst>
            <pc:docMk/>
            <pc:sldMk cId="394083929" sldId="3005"/>
            <ac:spMk id="12" creationId="{F1CA931B-68C0-4EB6-B23E-4CAB4BFB3EFA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13" creationId="{26C19207-98D4-48FE-87B0-A7A2494305B2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14" creationId="{9B516C9A-49A1-D5EF-DC7E-A0FF95C1F12C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15" creationId="{F41410AB-696E-4A47-87CA-03E8C84282D1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16" creationId="{95C84895-B31B-AAAD-F988-8D3A5F3A9083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17" creationId="{06FA6515-7B5D-CC3D-DD47-8397C43A8F04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19" creationId="{8C671DDD-D71D-79F5-6353-9A961482BDC9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0" creationId="{EDF468E6-D52A-3F92-8F3E-8FF99472EA3D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3" creationId="{36319628-CEED-B590-EB0F-C9AF5603E81F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5" creationId="{AD7B24BF-17A8-77A9-E456-191DBD09BE08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6" creationId="{79EAF74C-D12A-CE26-4D1B-5C92555DFEFD}"/>
          </ac:spMkLst>
        </pc:spChg>
        <pc:spChg chg="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7" creationId="{68D48DF4-C7A2-687B-94A9-AC3F9E708696}"/>
          </ac:spMkLst>
        </pc:spChg>
        <pc:spChg chg="add 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28" creationId="{3A6F50A7-9907-A94F-76F2-5FEC4683F6D6}"/>
          </ac:spMkLst>
        </pc:spChg>
        <pc:spChg chg="del">
          <ac:chgData name="Otavio Augusto Sabia Gava" userId="68ac195b-011b-467c-86d4-321df89323d0" providerId="ADAL" clId="{0C687AD9-2800-41E2-AA69-D02ABC7EDD76}" dt="2023-11-13T19:16:03.177" v="720" actId="478"/>
          <ac:spMkLst>
            <pc:docMk/>
            <pc:sldMk cId="394083929" sldId="3005"/>
            <ac:spMk id="29" creationId="{C171E660-325C-4EC4-A9C3-469568ACE0EC}"/>
          </ac:spMkLst>
        </pc:spChg>
        <pc:spChg chg="add mod">
          <ac:chgData name="Otavio Augusto Sabia Gava" userId="68ac195b-011b-467c-86d4-321df89323d0" providerId="ADAL" clId="{0C687AD9-2800-41E2-AA69-D02ABC7EDD76}" dt="2023-11-13T19:16:14.418" v="721"/>
          <ac:spMkLst>
            <pc:docMk/>
            <pc:sldMk cId="394083929" sldId="3005"/>
            <ac:spMk id="30" creationId="{93311329-6E07-2EEE-F457-A7EE118C2D56}"/>
          </ac:spMkLst>
        </pc:spChg>
        <pc:spChg chg="add del mod">
          <ac:chgData name="Otavio Augusto Sabia Gava" userId="68ac195b-011b-467c-86d4-321df89323d0" providerId="ADAL" clId="{0C687AD9-2800-41E2-AA69-D02ABC7EDD76}" dt="2023-11-13T19:16:21.314" v="723" actId="478"/>
          <ac:spMkLst>
            <pc:docMk/>
            <pc:sldMk cId="394083929" sldId="3005"/>
            <ac:spMk id="33" creationId="{BA9D4AF3-550E-FF47-F132-BCCB5F75DBAA}"/>
          </ac:spMkLst>
        </pc:spChg>
        <pc:grpChg chg="add mod">
          <ac:chgData name="Otavio Augusto Sabia Gava" userId="68ac195b-011b-467c-86d4-321df89323d0" providerId="ADAL" clId="{0C687AD9-2800-41E2-AA69-D02ABC7EDD76}" dt="2023-11-13T19:16:14.418" v="721"/>
          <ac:grpSpMkLst>
            <pc:docMk/>
            <pc:sldMk cId="394083929" sldId="3005"/>
            <ac:grpSpMk id="11" creationId="{A903D7F4-1846-95C8-A9F3-D43F5DAF07FC}"/>
          </ac:grpSpMkLst>
        </pc:grpChg>
        <pc:grpChg chg="add mod">
          <ac:chgData name="Otavio Augusto Sabia Gava" userId="68ac195b-011b-467c-86d4-321df89323d0" providerId="ADAL" clId="{0C687AD9-2800-41E2-AA69-D02ABC7EDD76}" dt="2023-11-13T19:16:14.418" v="721"/>
          <ac:grpSpMkLst>
            <pc:docMk/>
            <pc:sldMk cId="394083929" sldId="3005"/>
            <ac:grpSpMk id="18" creationId="{0477BB71-0193-B9D0-39AD-62B5FFEE1659}"/>
          </ac:grpSpMkLst>
        </pc:grpChg>
        <pc:grpChg chg="add mod">
          <ac:chgData name="Otavio Augusto Sabia Gava" userId="68ac195b-011b-467c-86d4-321df89323d0" providerId="ADAL" clId="{0C687AD9-2800-41E2-AA69-D02ABC7EDD76}" dt="2023-11-13T19:16:14.418" v="721"/>
          <ac:grpSpMkLst>
            <pc:docMk/>
            <pc:sldMk cId="394083929" sldId="3005"/>
            <ac:grpSpMk id="24" creationId="{B95E76AE-EFF2-2DF3-AEA7-9B67FF296448}"/>
          </ac:grpSpMkLst>
        </pc:grpChg>
        <pc:picChg chg="add mod">
          <ac:chgData name="Otavio Augusto Sabia Gava" userId="68ac195b-011b-467c-86d4-321df89323d0" providerId="ADAL" clId="{0C687AD9-2800-41E2-AA69-D02ABC7EDD76}" dt="2023-11-13T19:16:14.418" v="721"/>
          <ac:picMkLst>
            <pc:docMk/>
            <pc:sldMk cId="394083929" sldId="3005"/>
            <ac:picMk id="10" creationId="{2A205DB0-E7C7-EF7B-6246-C729BF21B21D}"/>
          </ac:picMkLst>
        </pc:picChg>
        <pc:picChg chg="del">
          <ac:chgData name="Otavio Augusto Sabia Gava" userId="68ac195b-011b-467c-86d4-321df89323d0" providerId="ADAL" clId="{0C687AD9-2800-41E2-AA69-D02ABC7EDD76}" dt="2023-11-13T19:16:03.177" v="720" actId="478"/>
          <ac:picMkLst>
            <pc:docMk/>
            <pc:sldMk cId="394083929" sldId="3005"/>
            <ac:picMk id="21" creationId="{010EEADF-D73D-4B0D-A2D2-B496B14CEE94}"/>
          </ac:picMkLst>
        </pc:picChg>
        <pc:picChg chg="add del mod">
          <ac:chgData name="Otavio Augusto Sabia Gava" userId="68ac195b-011b-467c-86d4-321df89323d0" providerId="ADAL" clId="{0C687AD9-2800-41E2-AA69-D02ABC7EDD76}" dt="2023-11-13T20:57:31.994" v="1472" actId="478"/>
          <ac:picMkLst>
            <pc:docMk/>
            <pc:sldMk cId="394083929" sldId="3005"/>
            <ac:picMk id="31" creationId="{B67430AD-9586-20D9-339E-EBA9E98F2B04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4-02-01T17:55:26.625" v="30633"/>
        <pc:sldMkLst>
          <pc:docMk/>
          <pc:sldMk cId="1490789898" sldId="3006"/>
        </pc:sldMkLst>
        <pc:spChg chg="add del mod">
          <ac:chgData name="Otavio Augusto Sabia Gava" userId="68ac195b-011b-467c-86d4-321df89323d0" providerId="ADAL" clId="{0C687AD9-2800-41E2-AA69-D02ABC7EDD76}" dt="2023-11-22T14:04:00.509" v="16978" actId="1076"/>
          <ac:spMkLst>
            <pc:docMk/>
            <pc:sldMk cId="1490789898" sldId="3006"/>
            <ac:spMk id="3" creationId="{835BFCD4-3075-3EC4-D507-25599C0C0A9E}"/>
          </ac:spMkLst>
        </pc:spChg>
        <pc:spChg chg="mod">
          <ac:chgData name="Otavio Augusto Sabia Gava" userId="68ac195b-011b-467c-86d4-321df89323d0" providerId="ADAL" clId="{0C687AD9-2800-41E2-AA69-D02ABC7EDD76}" dt="2023-11-13T21:18:46.647" v="1634" actId="20577"/>
          <ac:spMkLst>
            <pc:docMk/>
            <pc:sldMk cId="1490789898" sldId="3006"/>
            <ac:spMk id="4" creationId="{60F71F05-9F8B-46F3-9257-8A733FDC147F}"/>
          </ac:spMkLst>
        </pc:spChg>
        <pc:spChg chg="add del mod">
          <ac:chgData name="Otavio Augusto Sabia Gava" userId="68ac195b-011b-467c-86d4-321df89323d0" providerId="ADAL" clId="{0C687AD9-2800-41E2-AA69-D02ABC7EDD76}" dt="2023-11-13T21:15:30.932" v="1553" actId="14100"/>
          <ac:spMkLst>
            <pc:docMk/>
            <pc:sldMk cId="1490789898" sldId="3006"/>
            <ac:spMk id="5" creationId="{914C762E-3D9C-F22F-8E19-F6D13ADE11FE}"/>
          </ac:spMkLst>
        </pc:spChg>
        <pc:spChg chg="add del mod">
          <ac:chgData name="Otavio Augusto Sabia Gava" userId="68ac195b-011b-467c-86d4-321df89323d0" providerId="ADAL" clId="{0C687AD9-2800-41E2-AA69-D02ABC7EDD76}" dt="2023-11-13T21:15:33.358" v="1554" actId="14100"/>
          <ac:spMkLst>
            <pc:docMk/>
            <pc:sldMk cId="1490789898" sldId="3006"/>
            <ac:spMk id="9" creationId="{0CE0E987-7834-9592-BF6D-7E5E38AD6344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1" creationId="{D578D982-D7E3-9B40-3DCE-03AE93DA43A6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2" creationId="{C47AC51E-14F8-47BE-BF84-0CA44DEA8FFB}"/>
          </ac:spMkLst>
        </pc:spChg>
        <pc:spChg chg="add del mod">
          <ac:chgData name="Otavio Augusto Sabia Gava" userId="68ac195b-011b-467c-86d4-321df89323d0" providerId="ADAL" clId="{0C687AD9-2800-41E2-AA69-D02ABC7EDD76}" dt="2023-11-13T21:15:16.899" v="1550" actId="1035"/>
          <ac:spMkLst>
            <pc:docMk/>
            <pc:sldMk cId="1490789898" sldId="3006"/>
            <ac:spMk id="13" creationId="{AD730A3E-DCAA-FFD0-D690-846DEB200128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4" creationId="{F77F083A-AE5E-4DD6-98F0-E723CE6EA072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5" creationId="{892CAA28-6006-469A-B31B-1EC0B2C6F0AC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6" creationId="{67173E3B-909C-4A7D-98AC-21404903279F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7" creationId="{EEC035FC-701A-4278-927C-7CEE864CD208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18" creationId="{5537096F-1737-497F-B180-78A62452B051}"/>
          </ac:spMkLst>
        </pc:spChg>
        <pc:spChg chg="add del mod">
          <ac:chgData name="Otavio Augusto Sabia Gava" userId="68ac195b-011b-467c-86d4-321df89323d0" providerId="ADAL" clId="{0C687AD9-2800-41E2-AA69-D02ABC7EDD76}" dt="2023-11-13T21:15:35.046" v="1555" actId="14100"/>
          <ac:spMkLst>
            <pc:docMk/>
            <pc:sldMk cId="1490789898" sldId="3006"/>
            <ac:spMk id="19" creationId="{1F6C18E1-59CE-957A-95A4-BE6564AD4FAE}"/>
          </ac:spMkLst>
        </pc:spChg>
        <pc:spChg chg="add del mod">
          <ac:chgData name="Otavio Augusto Sabia Gava" userId="68ac195b-011b-467c-86d4-321df89323d0" providerId="ADAL" clId="{0C687AD9-2800-41E2-AA69-D02ABC7EDD76}" dt="2023-11-13T21:15:16.899" v="1550" actId="1035"/>
          <ac:spMkLst>
            <pc:docMk/>
            <pc:sldMk cId="1490789898" sldId="3006"/>
            <ac:spMk id="20" creationId="{8BDDD7F7-F384-F20D-68A5-BBDB0E2BAC2F}"/>
          </ac:spMkLst>
        </pc:spChg>
        <pc:spChg chg="add del mod">
          <ac:chgData name="Otavio Augusto Sabia Gava" userId="68ac195b-011b-467c-86d4-321df89323d0" providerId="ADAL" clId="{0C687AD9-2800-41E2-AA69-D02ABC7EDD76}" dt="2023-11-13T21:15:16.899" v="1550" actId="1035"/>
          <ac:spMkLst>
            <pc:docMk/>
            <pc:sldMk cId="1490789898" sldId="3006"/>
            <ac:spMk id="23" creationId="{2AEF2D90-BF82-40F2-B291-F078DD362F22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27" creationId="{BFC3DB35-B9A5-4E3F-87B3-CD8F53CBD3E6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29" creationId="{C6389128-6C17-488D-B848-100BB9E70E85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30" creationId="{859542F6-BFDA-47D2-BAE2-9F497F0756D1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31" creationId="{FDADBE17-FC8F-4139-8E2B-DFC1AC8EC828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32" creationId="{CAD2A295-5038-4B1D-9E80-01D7D7BD080B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33" creationId="{6AE2D538-95E0-460E-8570-7AF453DB9CC3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34" creationId="{F0A5BFDC-EEDE-4F00-82D0-A5D7B4CFB997}"/>
          </ac:spMkLst>
        </pc:spChg>
        <pc:spChg chg="add del mod">
          <ac:chgData name="Otavio Augusto Sabia Gava" userId="68ac195b-011b-467c-86d4-321df89323d0" providerId="ADAL" clId="{0C687AD9-2800-41E2-AA69-D02ABC7EDD76}" dt="2023-11-13T20:15:34.009" v="1202"/>
          <ac:spMkLst>
            <pc:docMk/>
            <pc:sldMk cId="1490789898" sldId="3006"/>
            <ac:spMk id="35" creationId="{69ABEAB4-F479-9635-2569-490B73022245}"/>
          </ac:spMkLst>
        </pc:spChg>
        <pc:spChg chg="add del">
          <ac:chgData name="Otavio Augusto Sabia Gava" userId="68ac195b-011b-467c-86d4-321df89323d0" providerId="ADAL" clId="{0C687AD9-2800-41E2-AA69-D02ABC7EDD76}" dt="2023-11-13T20:37:24.773" v="1220" actId="22"/>
          <ac:spMkLst>
            <pc:docMk/>
            <pc:sldMk cId="1490789898" sldId="3006"/>
            <ac:spMk id="37" creationId="{D8E38694-89C5-C8A5-DD33-282780DD0D01}"/>
          </ac:spMkLst>
        </pc:spChg>
        <pc:spChg chg="add mod">
          <ac:chgData name="Otavio Augusto Sabia Gava" userId="68ac195b-011b-467c-86d4-321df89323d0" providerId="ADAL" clId="{0C687AD9-2800-41E2-AA69-D02ABC7EDD76}" dt="2023-11-13T21:17:36.321" v="1577" actId="20577"/>
          <ac:spMkLst>
            <pc:docMk/>
            <pc:sldMk cId="1490789898" sldId="3006"/>
            <ac:spMk id="39" creationId="{589236C6-77C9-9798-6497-4459A2618667}"/>
          </ac:spMkLst>
        </pc:spChg>
        <pc:spChg chg="add mod">
          <ac:chgData name="Otavio Augusto Sabia Gava" userId="68ac195b-011b-467c-86d4-321df89323d0" providerId="ADAL" clId="{0C687AD9-2800-41E2-AA69-D02ABC7EDD76}" dt="2023-11-13T21:17:39.831" v="1582" actId="20577"/>
          <ac:spMkLst>
            <pc:docMk/>
            <pc:sldMk cId="1490789898" sldId="3006"/>
            <ac:spMk id="40" creationId="{03BD7AA4-910A-D9A5-3C54-678F3638CB94}"/>
          </ac:spMkLst>
        </pc:spChg>
        <pc:spChg chg="del">
          <ac:chgData name="Otavio Augusto Sabia Gava" userId="68ac195b-011b-467c-86d4-321df89323d0" providerId="ADAL" clId="{0C687AD9-2800-41E2-AA69-D02ABC7EDD76}" dt="2023-11-13T19:45:38.140" v="1076" actId="478"/>
          <ac:spMkLst>
            <pc:docMk/>
            <pc:sldMk cId="1490789898" sldId="3006"/>
            <ac:spMk id="41" creationId="{7095C1D4-F90F-418D-833E-B1A36E361066}"/>
          </ac:spMkLst>
        </pc:spChg>
        <pc:spChg chg="add mod">
          <ac:chgData name="Otavio Augusto Sabia Gava" userId="68ac195b-011b-467c-86d4-321df89323d0" providerId="ADAL" clId="{0C687AD9-2800-41E2-AA69-D02ABC7EDD76}" dt="2023-11-13T21:30:51.774" v="1900" actId="20577"/>
          <ac:spMkLst>
            <pc:docMk/>
            <pc:sldMk cId="1490789898" sldId="3006"/>
            <ac:spMk id="44" creationId="{B936DB64-112A-CF7D-C03D-6724198EC1BE}"/>
          </ac:spMkLst>
        </pc:spChg>
        <pc:grpChg chg="del">
          <ac:chgData name="Otavio Augusto Sabia Gava" userId="68ac195b-011b-467c-86d4-321df89323d0" providerId="ADAL" clId="{0C687AD9-2800-41E2-AA69-D02ABC7EDD76}" dt="2023-11-13T19:45:38.140" v="1076" actId="478"/>
          <ac:grpSpMkLst>
            <pc:docMk/>
            <pc:sldMk cId="1490789898" sldId="3006"/>
            <ac:grpSpMk id="10" creationId="{B3993E86-5275-805C-F021-12E9C31D5EFD}"/>
          </ac:grpSpMkLst>
        </pc:grpChg>
        <pc:picChg chg="add del mod">
          <ac:chgData name="Otavio Augusto Sabia Gava" userId="68ac195b-011b-467c-86d4-321df89323d0" providerId="ADAL" clId="{0C687AD9-2800-41E2-AA69-D02ABC7EDD76}" dt="2023-11-20T13:17:16.997" v="4124" actId="478"/>
          <ac:picMkLst>
            <pc:docMk/>
            <pc:sldMk cId="1490789898" sldId="3006"/>
            <ac:picMk id="2" creationId="{6F6FB02E-400F-483B-4737-5D0567B0B80F}"/>
          </ac:picMkLst>
        </pc:picChg>
        <pc:picChg chg="add del mod">
          <ac:chgData name="Otavio Augusto Sabia Gava" userId="68ac195b-011b-467c-86d4-321df89323d0" providerId="ADAL" clId="{0C687AD9-2800-41E2-AA69-D02ABC7EDD76}" dt="2023-11-20T13:17:16.997" v="4124" actId="478"/>
          <ac:picMkLst>
            <pc:docMk/>
            <pc:sldMk cId="1490789898" sldId="3006"/>
            <ac:picMk id="6" creationId="{57E56510-A272-9ADE-BCB3-71B241D43B07}"/>
          </ac:picMkLst>
        </pc:picChg>
        <pc:picChg chg="add del mod">
          <ac:chgData name="Otavio Augusto Sabia Gava" userId="68ac195b-011b-467c-86d4-321df89323d0" providerId="ADAL" clId="{0C687AD9-2800-41E2-AA69-D02ABC7EDD76}" dt="2023-11-13T19:53:43.126" v="1113" actId="478"/>
          <ac:picMkLst>
            <pc:docMk/>
            <pc:sldMk cId="1490789898" sldId="3006"/>
            <ac:picMk id="6" creationId="{FADFBEF9-5075-F2F2-4277-3695BB591713}"/>
          </ac:picMkLst>
        </pc:picChg>
        <pc:picChg chg="add mod">
          <ac:chgData name="Otavio Augusto Sabia Gava" userId="68ac195b-011b-467c-86d4-321df89323d0" providerId="ADAL" clId="{0C687AD9-2800-41E2-AA69-D02ABC7EDD76}" dt="2024-02-01T17:55:26.625" v="30633"/>
          <ac:picMkLst>
            <pc:docMk/>
            <pc:sldMk cId="1490789898" sldId="3006"/>
            <ac:picMk id="7" creationId="{72A0263B-CD8F-CD38-BA74-FA06DAFD13B2}"/>
          </ac:picMkLst>
        </pc:picChg>
        <pc:picChg chg="add mod">
          <ac:chgData name="Otavio Augusto Sabia Gava" userId="68ac195b-011b-467c-86d4-321df89323d0" providerId="ADAL" clId="{0C687AD9-2800-41E2-AA69-D02ABC7EDD76}" dt="2023-11-20T13:19:00.719" v="4141"/>
          <ac:picMkLst>
            <pc:docMk/>
            <pc:sldMk cId="1490789898" sldId="3006"/>
            <ac:picMk id="8" creationId="{855127AC-E3E9-3E82-E302-704733AFE5EE}"/>
          </ac:picMkLst>
        </pc:picChg>
        <pc:picChg chg="add del mod">
          <ac:chgData name="Otavio Augusto Sabia Gava" userId="68ac195b-011b-467c-86d4-321df89323d0" providerId="ADAL" clId="{0C687AD9-2800-41E2-AA69-D02ABC7EDD76}" dt="2023-11-13T19:53:42.248" v="1111" actId="478"/>
          <ac:picMkLst>
            <pc:docMk/>
            <pc:sldMk cId="1490789898" sldId="3006"/>
            <ac:picMk id="21" creationId="{7C32FB8F-C48B-84B7-891A-E01297C43352}"/>
          </ac:picMkLst>
        </pc:picChg>
        <pc:picChg chg="add del mod">
          <ac:chgData name="Otavio Augusto Sabia Gava" userId="68ac195b-011b-467c-86d4-321df89323d0" providerId="ADAL" clId="{0C687AD9-2800-41E2-AA69-D02ABC7EDD76}" dt="2023-11-13T19:53:42.655" v="1112" actId="478"/>
          <ac:picMkLst>
            <pc:docMk/>
            <pc:sldMk cId="1490789898" sldId="3006"/>
            <ac:picMk id="22" creationId="{261A0423-6F2D-3CB6-EDFC-DCAAB2532E06}"/>
          </ac:picMkLst>
        </pc:picChg>
        <pc:picChg chg="add del mod">
          <ac:chgData name="Otavio Augusto Sabia Gava" userId="68ac195b-011b-467c-86d4-321df89323d0" providerId="ADAL" clId="{0C687AD9-2800-41E2-AA69-D02ABC7EDD76}" dt="2023-11-13T19:53:49.373" v="1114" actId="478"/>
          <ac:picMkLst>
            <pc:docMk/>
            <pc:sldMk cId="1490789898" sldId="3006"/>
            <ac:picMk id="24" creationId="{AA2D0735-5A2F-5699-F9E6-82993A5C6934}"/>
          </ac:picMkLst>
        </pc:picChg>
        <pc:picChg chg="add del mod">
          <ac:chgData name="Otavio Augusto Sabia Gava" userId="68ac195b-011b-467c-86d4-321df89323d0" providerId="ADAL" clId="{0C687AD9-2800-41E2-AA69-D02ABC7EDD76}" dt="2023-11-13T19:53:52.351" v="1115" actId="478"/>
          <ac:picMkLst>
            <pc:docMk/>
            <pc:sldMk cId="1490789898" sldId="3006"/>
            <ac:picMk id="25" creationId="{1FE4186D-01FC-1B4A-0D5C-5C5DC8E7C299}"/>
          </ac:picMkLst>
        </pc:picChg>
        <pc:picChg chg="add del mod">
          <ac:chgData name="Otavio Augusto Sabia Gava" userId="68ac195b-011b-467c-86d4-321df89323d0" providerId="ADAL" clId="{0C687AD9-2800-41E2-AA69-D02ABC7EDD76}" dt="2023-11-13T19:53:55.274" v="1116" actId="478"/>
          <ac:picMkLst>
            <pc:docMk/>
            <pc:sldMk cId="1490789898" sldId="3006"/>
            <ac:picMk id="26" creationId="{107BF46A-AAB2-D24B-18C6-279B1344E187}"/>
          </ac:picMkLst>
        </pc:picChg>
        <pc:picChg chg="del">
          <ac:chgData name="Otavio Augusto Sabia Gava" userId="68ac195b-011b-467c-86d4-321df89323d0" providerId="ADAL" clId="{0C687AD9-2800-41E2-AA69-D02ABC7EDD76}" dt="2023-11-13T20:56:41.496" v="1455" actId="478"/>
          <ac:picMkLst>
            <pc:docMk/>
            <pc:sldMk cId="1490789898" sldId="3006"/>
            <ac:picMk id="42" creationId="{1299530C-91B2-49E4-B310-C9F9448A16C3}"/>
          </ac:picMkLst>
        </pc:picChg>
        <pc:picChg chg="del">
          <ac:chgData name="Otavio Augusto Sabia Gava" userId="68ac195b-011b-467c-86d4-321df89323d0" providerId="ADAL" clId="{0C687AD9-2800-41E2-AA69-D02ABC7EDD76}" dt="2023-11-13T20:56:41.496" v="1455" actId="478"/>
          <ac:picMkLst>
            <pc:docMk/>
            <pc:sldMk cId="1490789898" sldId="3006"/>
            <ac:picMk id="43" creationId="{28CBF563-AB3D-4231-8E97-56DA382391D7}"/>
          </ac:picMkLst>
        </pc:picChg>
        <pc:picChg chg="add mod">
          <ac:chgData name="Otavio Augusto Sabia Gava" userId="68ac195b-011b-467c-86d4-321df89323d0" providerId="ADAL" clId="{0C687AD9-2800-41E2-AA69-D02ABC7EDD76}" dt="2023-11-13T21:15:16.899" v="1550" actId="1035"/>
          <ac:picMkLst>
            <pc:docMk/>
            <pc:sldMk cId="1490789898" sldId="3006"/>
            <ac:picMk id="46" creationId="{4F53EB72-00AE-C9DE-27F5-3AB96F6AF43A}"/>
          </ac:picMkLst>
        </pc:picChg>
        <pc:picChg chg="add mod">
          <ac:chgData name="Otavio Augusto Sabia Gava" userId="68ac195b-011b-467c-86d4-321df89323d0" providerId="ADAL" clId="{0C687AD9-2800-41E2-AA69-D02ABC7EDD76}" dt="2023-11-13T21:15:16.899" v="1550" actId="1035"/>
          <ac:picMkLst>
            <pc:docMk/>
            <pc:sldMk cId="1490789898" sldId="3006"/>
            <ac:picMk id="48" creationId="{A16460C7-5D6F-CBE1-CC42-699CF0720DAC}"/>
          </ac:picMkLst>
        </pc:picChg>
        <pc:picChg chg="add del mod">
          <ac:chgData name="Otavio Augusto Sabia Gava" userId="68ac195b-011b-467c-86d4-321df89323d0" providerId="ADAL" clId="{0C687AD9-2800-41E2-AA69-D02ABC7EDD76}" dt="2023-11-13T20:46:58.485" v="1347" actId="478"/>
          <ac:picMkLst>
            <pc:docMk/>
            <pc:sldMk cId="1490789898" sldId="3006"/>
            <ac:picMk id="50" creationId="{A267F7D3-5970-E401-CCB3-046C57A1827E}"/>
          </ac:picMkLst>
        </pc:picChg>
        <pc:picChg chg="add mod">
          <ac:chgData name="Otavio Augusto Sabia Gava" userId="68ac195b-011b-467c-86d4-321df89323d0" providerId="ADAL" clId="{0C687AD9-2800-41E2-AA69-D02ABC7EDD76}" dt="2023-11-13T21:15:16.899" v="1550" actId="1035"/>
          <ac:picMkLst>
            <pc:docMk/>
            <pc:sldMk cId="1490789898" sldId="3006"/>
            <ac:picMk id="52" creationId="{96A66913-CF84-1A95-F3BA-ADEAE684AA37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3T20:09:42.658" v="1190" actId="47"/>
        <pc:sldMkLst>
          <pc:docMk/>
          <pc:sldMk cId="342512930" sldId="3007"/>
        </pc:sldMkLst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5" creationId="{914C762E-3D9C-F22F-8E19-F6D13ADE11FE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9" creationId="{0CE0E987-7834-9592-BF6D-7E5E38AD6344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13" creationId="{AD730A3E-DCAA-FFD0-D690-846DEB200128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19" creationId="{1F6C18E1-59CE-957A-95A4-BE6564AD4FAE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20" creationId="{8BDDD7F7-F384-F20D-68A5-BBDB0E2BAC2F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23" creationId="{2AEF2D90-BF82-40F2-B291-F078DD362F22}"/>
          </ac:spMkLst>
        </pc:spChg>
        <pc:spChg chg="del">
          <ac:chgData name="Otavio Augusto Sabia Gava" userId="68ac195b-011b-467c-86d4-321df89323d0" providerId="ADAL" clId="{0C687AD9-2800-41E2-AA69-D02ABC7EDD76}" dt="2023-11-13T20:03:47.595" v="1172" actId="478"/>
          <ac:spMkLst>
            <pc:docMk/>
            <pc:sldMk cId="342512930" sldId="3007"/>
            <ac:spMk id="35" creationId="{69ABEAB4-F479-9635-2569-490B73022245}"/>
          </ac:spMkLst>
        </pc:spChg>
        <pc:graphicFrameChg chg="add del mod modGraphic">
          <ac:chgData name="Otavio Augusto Sabia Gava" userId="68ac195b-011b-467c-86d4-321df89323d0" providerId="ADAL" clId="{0C687AD9-2800-41E2-AA69-D02ABC7EDD76}" dt="2023-11-13T20:04:21.647" v="1178" actId="1032"/>
          <ac:graphicFrameMkLst>
            <pc:docMk/>
            <pc:sldMk cId="342512930" sldId="3007"/>
            <ac:graphicFrameMk id="2" creationId="{FE5BAC7C-243E-15AB-1D8B-E7637BF6E1E8}"/>
          </ac:graphicFrameMkLst>
        </pc:graphicFrameChg>
        <pc:graphicFrameChg chg="add mod modGraphic">
          <ac:chgData name="Otavio Augusto Sabia Gava" userId="68ac195b-011b-467c-86d4-321df89323d0" providerId="ADAL" clId="{0C687AD9-2800-41E2-AA69-D02ABC7EDD76}" dt="2023-11-13T20:06:54.992" v="1189" actId="208"/>
          <ac:graphicFrameMkLst>
            <pc:docMk/>
            <pc:sldMk cId="342512930" sldId="3007"/>
            <ac:graphicFrameMk id="6" creationId="{2D258D44-C24D-5921-FF8F-5E1234731EED}"/>
          </ac:graphicFrameMkLst>
        </pc:graphicFrameChg>
      </pc:sldChg>
      <pc:sldChg chg="add del">
        <pc:chgData name="Otavio Augusto Sabia Gava" userId="68ac195b-011b-467c-86d4-321df89323d0" providerId="ADAL" clId="{0C687AD9-2800-41E2-AA69-D02ABC7EDD76}" dt="2023-11-13T20:16:20.380" v="1204"/>
        <pc:sldMkLst>
          <pc:docMk/>
          <pc:sldMk cId="519766348" sldId="3007"/>
        </pc:sldMkLst>
      </pc:sldChg>
      <pc:sldChg chg="delSp add del mod">
        <pc:chgData name="Otavio Augusto Sabia Gava" userId="68ac195b-011b-467c-86d4-321df89323d0" providerId="ADAL" clId="{0C687AD9-2800-41E2-AA69-D02ABC7EDD76}" dt="2023-11-13T20:37:04.646" v="1216" actId="47"/>
        <pc:sldMkLst>
          <pc:docMk/>
          <pc:sldMk cId="1525159317" sldId="3007"/>
        </pc:sldMkLst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5" creationId="{914C762E-3D9C-F22F-8E19-F6D13ADE11FE}"/>
          </ac:spMkLst>
        </pc:spChg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9" creationId="{0CE0E987-7834-9592-BF6D-7E5E38AD6344}"/>
          </ac:spMkLst>
        </pc:spChg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13" creationId="{AD730A3E-DCAA-FFD0-D690-846DEB200128}"/>
          </ac:spMkLst>
        </pc:spChg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19" creationId="{1F6C18E1-59CE-957A-95A4-BE6564AD4FAE}"/>
          </ac:spMkLst>
        </pc:spChg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20" creationId="{8BDDD7F7-F384-F20D-68A5-BBDB0E2BAC2F}"/>
          </ac:spMkLst>
        </pc:spChg>
        <pc:spChg chg="del">
          <ac:chgData name="Otavio Augusto Sabia Gava" userId="68ac195b-011b-467c-86d4-321df89323d0" providerId="ADAL" clId="{0C687AD9-2800-41E2-AA69-D02ABC7EDD76}" dt="2023-11-13T20:34:16.272" v="1215" actId="478"/>
          <ac:spMkLst>
            <pc:docMk/>
            <pc:sldMk cId="1525159317" sldId="3007"/>
            <ac:spMk id="23" creationId="{2AEF2D90-BF82-40F2-B291-F078DD362F22}"/>
          </ac:spMkLst>
        </pc:spChg>
      </pc:sldChg>
      <pc:sldChg chg="modSp add del mod">
        <pc:chgData name="Otavio Augusto Sabia Gava" userId="68ac195b-011b-467c-86d4-321df89323d0" providerId="ADAL" clId="{0C687AD9-2800-41E2-AA69-D02ABC7EDD76}" dt="2023-11-13T21:34:42.967" v="1934" actId="47"/>
        <pc:sldMkLst>
          <pc:docMk/>
          <pc:sldMk cId="4104930264" sldId="3007"/>
        </pc:sldMkLst>
        <pc:spChg chg="mod">
          <ac:chgData name="Otavio Augusto Sabia Gava" userId="68ac195b-011b-467c-86d4-321df89323d0" providerId="ADAL" clId="{0C687AD9-2800-41E2-AA69-D02ABC7EDD76}" dt="2023-11-13T21:21:41.954" v="1684"/>
          <ac:spMkLst>
            <pc:docMk/>
            <pc:sldMk cId="4104930264" sldId="3007"/>
            <ac:spMk id="3" creationId="{F854C607-31FB-491E-909C-871D43087A79}"/>
          </ac:spMkLst>
        </pc:spChg>
      </pc:sldChg>
      <pc:sldChg chg="addSp delSp modSp add del mod">
        <pc:chgData name="Otavio Augusto Sabia Gava" userId="68ac195b-011b-467c-86d4-321df89323d0" providerId="ADAL" clId="{0C687AD9-2800-41E2-AA69-D02ABC7EDD76}" dt="2023-11-13T21:28:51.979" v="1842" actId="47"/>
        <pc:sldMkLst>
          <pc:docMk/>
          <pc:sldMk cId="3368871096" sldId="3008"/>
        </pc:sldMkLst>
        <pc:spChg chg="mod">
          <ac:chgData name="Otavio Augusto Sabia Gava" userId="68ac195b-011b-467c-86d4-321df89323d0" providerId="ADAL" clId="{0C687AD9-2800-41E2-AA69-D02ABC7EDD76}" dt="2023-11-13T21:28:21.166" v="1839" actId="113"/>
          <ac:spMkLst>
            <pc:docMk/>
            <pc:sldMk cId="3368871096" sldId="3008"/>
            <ac:spMk id="3" creationId="{835BFCD4-3075-3EC4-D507-25599C0C0A9E}"/>
          </ac:spMkLst>
        </pc:spChg>
        <pc:spChg chg="mod">
          <ac:chgData name="Otavio Augusto Sabia Gava" userId="68ac195b-011b-467c-86d4-321df89323d0" providerId="ADAL" clId="{0C687AD9-2800-41E2-AA69-D02ABC7EDD76}" dt="2023-11-13T21:25:09.780" v="1697" actId="20577"/>
          <ac:spMkLst>
            <pc:docMk/>
            <pc:sldMk cId="3368871096" sldId="3008"/>
            <ac:spMk id="4" creationId="{60F71F05-9F8B-46F3-9257-8A733FDC147F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5" creationId="{914C762E-3D9C-F22F-8E19-F6D13ADE11FE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9" creationId="{0CE0E987-7834-9592-BF6D-7E5E38AD6344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13" creationId="{AD730A3E-DCAA-FFD0-D690-846DEB200128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19" creationId="{1F6C18E1-59CE-957A-95A4-BE6564AD4FAE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20" creationId="{8BDDD7F7-F384-F20D-68A5-BBDB0E2BAC2F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23" creationId="{2AEF2D90-BF82-40F2-B291-F078DD362F22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39" creationId="{589236C6-77C9-9798-6497-4459A2618667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40" creationId="{03BD7AA4-910A-D9A5-3C54-678F3638CB94}"/>
          </ac:spMkLst>
        </pc:spChg>
        <pc:spChg chg="del">
          <ac:chgData name="Otavio Augusto Sabia Gava" userId="68ac195b-011b-467c-86d4-321df89323d0" providerId="ADAL" clId="{0C687AD9-2800-41E2-AA69-D02ABC7EDD76}" dt="2023-11-13T21:25:12.855" v="1698" actId="478"/>
          <ac:spMkLst>
            <pc:docMk/>
            <pc:sldMk cId="3368871096" sldId="3008"/>
            <ac:spMk id="44" creationId="{B936DB64-112A-CF7D-C03D-6724198EC1BE}"/>
          </ac:spMkLst>
        </pc:spChg>
        <pc:picChg chg="add mod">
          <ac:chgData name="Otavio Augusto Sabia Gava" userId="68ac195b-011b-467c-86d4-321df89323d0" providerId="ADAL" clId="{0C687AD9-2800-41E2-AA69-D02ABC7EDD76}" dt="2023-11-13T21:26:23.710" v="1724" actId="1076"/>
          <ac:picMkLst>
            <pc:docMk/>
            <pc:sldMk cId="3368871096" sldId="3008"/>
            <ac:picMk id="2" creationId="{0A557F32-12B9-0A42-5F6E-E473129788D5}"/>
          </ac:picMkLst>
        </pc:picChg>
        <pc:picChg chg="del">
          <ac:chgData name="Otavio Augusto Sabia Gava" userId="68ac195b-011b-467c-86d4-321df89323d0" providerId="ADAL" clId="{0C687AD9-2800-41E2-AA69-D02ABC7EDD76}" dt="2023-11-13T21:25:12.855" v="1698" actId="478"/>
          <ac:picMkLst>
            <pc:docMk/>
            <pc:sldMk cId="3368871096" sldId="3008"/>
            <ac:picMk id="46" creationId="{4F53EB72-00AE-C9DE-27F5-3AB96F6AF43A}"/>
          </ac:picMkLst>
        </pc:picChg>
        <pc:picChg chg="del">
          <ac:chgData name="Otavio Augusto Sabia Gava" userId="68ac195b-011b-467c-86d4-321df89323d0" providerId="ADAL" clId="{0C687AD9-2800-41E2-AA69-D02ABC7EDD76}" dt="2023-11-13T21:25:12.855" v="1698" actId="478"/>
          <ac:picMkLst>
            <pc:docMk/>
            <pc:sldMk cId="3368871096" sldId="3008"/>
            <ac:picMk id="48" creationId="{A16460C7-5D6F-CBE1-CC42-699CF0720DAC}"/>
          </ac:picMkLst>
        </pc:picChg>
        <pc:picChg chg="del">
          <ac:chgData name="Otavio Augusto Sabia Gava" userId="68ac195b-011b-467c-86d4-321df89323d0" providerId="ADAL" clId="{0C687AD9-2800-41E2-AA69-D02ABC7EDD76}" dt="2023-11-13T21:25:12.855" v="1698" actId="478"/>
          <ac:picMkLst>
            <pc:docMk/>
            <pc:sldMk cId="3368871096" sldId="3008"/>
            <ac:picMk id="52" creationId="{96A66913-CF84-1A95-F3BA-ADEAE684AA37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4-02-01T17:55:49.062" v="30634"/>
        <pc:sldMkLst>
          <pc:docMk/>
          <pc:sldMk cId="3268188350" sldId="3009"/>
        </pc:sldMkLst>
        <pc:spChg chg="mod">
          <ac:chgData name="Otavio Augusto Sabia Gava" userId="68ac195b-011b-467c-86d4-321df89323d0" providerId="ADAL" clId="{0C687AD9-2800-41E2-AA69-D02ABC7EDD76}" dt="2023-11-13T23:26:11.570" v="1936" actId="113"/>
          <ac:spMkLst>
            <pc:docMk/>
            <pc:sldMk cId="3268188350" sldId="3009"/>
            <ac:spMk id="3" creationId="{835BFCD4-3075-3EC4-D507-25599C0C0A9E}"/>
          </ac:spMkLst>
        </pc:spChg>
        <pc:spChg chg="mod">
          <ac:chgData name="Otavio Augusto Sabia Gava" userId="68ac195b-011b-467c-86d4-321df89323d0" providerId="ADAL" clId="{0C687AD9-2800-41E2-AA69-D02ABC7EDD76}" dt="2023-11-16T17:03:56.556" v="1959" actId="1036"/>
          <ac:spMkLst>
            <pc:docMk/>
            <pc:sldMk cId="3268188350" sldId="3009"/>
            <ac:spMk id="4" creationId="{60F71F05-9F8B-46F3-9257-8A733FDC147F}"/>
          </ac:spMkLst>
        </pc:spChg>
        <pc:picChg chg="mod">
          <ac:chgData name="Otavio Augusto Sabia Gava" userId="68ac195b-011b-467c-86d4-321df89323d0" providerId="ADAL" clId="{0C687AD9-2800-41E2-AA69-D02ABC7EDD76}" dt="2023-11-13T21:26:31.232" v="1728" actId="1076"/>
          <ac:picMkLst>
            <pc:docMk/>
            <pc:sldMk cId="3268188350" sldId="3009"/>
            <ac:picMk id="2" creationId="{0A557F32-12B9-0A42-5F6E-E473129788D5}"/>
          </ac:picMkLst>
        </pc:picChg>
        <pc:picChg chg="add del mod">
          <ac:chgData name="Otavio Augusto Sabia Gava" userId="68ac195b-011b-467c-86d4-321df89323d0" providerId="ADAL" clId="{0C687AD9-2800-41E2-AA69-D02ABC7EDD76}" dt="2023-11-20T13:17:20.353" v="4126" actId="478"/>
          <ac:picMkLst>
            <pc:docMk/>
            <pc:sldMk cId="3268188350" sldId="3009"/>
            <ac:picMk id="5" creationId="{1FF84215-308F-58CB-92E1-5ECFF8C07F7E}"/>
          </ac:picMkLst>
        </pc:picChg>
        <pc:picChg chg="add del mod">
          <ac:chgData name="Otavio Augusto Sabia Gava" userId="68ac195b-011b-467c-86d4-321df89323d0" providerId="ADAL" clId="{0C687AD9-2800-41E2-AA69-D02ABC7EDD76}" dt="2023-11-20T13:17:20.353" v="4126" actId="478"/>
          <ac:picMkLst>
            <pc:docMk/>
            <pc:sldMk cId="3268188350" sldId="3009"/>
            <ac:picMk id="6" creationId="{6EA5F341-28E5-F829-5BC5-1A3F951A285A}"/>
          </ac:picMkLst>
        </pc:picChg>
        <pc:picChg chg="add mod">
          <ac:chgData name="Otavio Augusto Sabia Gava" userId="68ac195b-011b-467c-86d4-321df89323d0" providerId="ADAL" clId="{0C687AD9-2800-41E2-AA69-D02ABC7EDD76}" dt="2024-02-01T17:55:49.062" v="30634"/>
          <ac:picMkLst>
            <pc:docMk/>
            <pc:sldMk cId="3268188350" sldId="3009"/>
            <ac:picMk id="7" creationId="{C287A7F3-960B-71B7-3D48-E8AA77DC8F21}"/>
          </ac:picMkLst>
        </pc:picChg>
        <pc:picChg chg="add mod">
          <ac:chgData name="Otavio Augusto Sabia Gava" userId="68ac195b-011b-467c-86d4-321df89323d0" providerId="ADAL" clId="{0C687AD9-2800-41E2-AA69-D02ABC7EDD76}" dt="2023-11-20T13:19:10.292" v="4142"/>
          <ac:picMkLst>
            <pc:docMk/>
            <pc:sldMk cId="3268188350" sldId="3009"/>
            <ac:picMk id="8" creationId="{2C7FFF4E-A4C3-B0D6-42EF-F17C962D1F1B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16T19:55:36.185" v="2342" actId="2696"/>
        <pc:sldMkLst>
          <pc:docMk/>
          <pc:sldMk cId="2669769147" sldId="3010"/>
        </pc:sldMkLst>
        <pc:spChg chg="del">
          <ac:chgData name="Otavio Augusto Sabia Gava" userId="68ac195b-011b-467c-86d4-321df89323d0" providerId="ADAL" clId="{0C687AD9-2800-41E2-AA69-D02ABC7EDD76}" dt="2023-11-13T21:29:39.275" v="1888" actId="478"/>
          <ac:spMkLst>
            <pc:docMk/>
            <pc:sldMk cId="2669769147" sldId="3010"/>
            <ac:spMk id="3" creationId="{835BFCD4-3075-3EC4-D507-25599C0C0A9E}"/>
          </ac:spMkLst>
        </pc:spChg>
        <pc:spChg chg="mod">
          <ac:chgData name="Otavio Augusto Sabia Gava" userId="68ac195b-011b-467c-86d4-321df89323d0" providerId="ADAL" clId="{0C687AD9-2800-41E2-AA69-D02ABC7EDD76}" dt="2023-11-13T21:29:26.596" v="1886" actId="20577"/>
          <ac:spMkLst>
            <pc:docMk/>
            <pc:sldMk cId="2669769147" sldId="3010"/>
            <ac:spMk id="4" creationId="{60F71F05-9F8B-46F3-9257-8A733FDC147F}"/>
          </ac:spMkLst>
        </pc:spChg>
        <pc:spChg chg="add del mod">
          <ac:chgData name="Otavio Augusto Sabia Gava" userId="68ac195b-011b-467c-86d4-321df89323d0" providerId="ADAL" clId="{0C687AD9-2800-41E2-AA69-D02ABC7EDD76}" dt="2023-11-13T21:29:41.092" v="1890" actId="478"/>
          <ac:spMkLst>
            <pc:docMk/>
            <pc:sldMk cId="2669769147" sldId="3010"/>
            <ac:spMk id="6" creationId="{21BCB745-D0FE-90F3-784B-AB7B7D196794}"/>
          </ac:spMkLst>
        </pc:spChg>
        <pc:spChg chg="add mod">
          <ac:chgData name="Otavio Augusto Sabia Gava" userId="68ac195b-011b-467c-86d4-321df89323d0" providerId="ADAL" clId="{0C687AD9-2800-41E2-AA69-D02ABC7EDD76}" dt="2023-11-13T21:33:17.129" v="1932" actId="404"/>
          <ac:spMkLst>
            <pc:docMk/>
            <pc:sldMk cId="2669769147" sldId="3010"/>
            <ac:spMk id="8" creationId="{80C14B0F-189C-F16F-6992-AD412320CA3E}"/>
          </ac:spMkLst>
        </pc:spChg>
        <pc:spChg chg="add mod">
          <ac:chgData name="Otavio Augusto Sabia Gava" userId="68ac195b-011b-467c-86d4-321df89323d0" providerId="ADAL" clId="{0C687AD9-2800-41E2-AA69-D02ABC7EDD76}" dt="2023-11-13T21:33:19.897" v="1933" actId="404"/>
          <ac:spMkLst>
            <pc:docMk/>
            <pc:sldMk cId="2669769147" sldId="3010"/>
            <ac:spMk id="9" creationId="{5BBBFCCA-8963-EBFD-E816-35856C55DFCC}"/>
          </ac:spMkLst>
        </pc:spChg>
        <pc:picChg chg="del">
          <ac:chgData name="Otavio Augusto Sabia Gava" userId="68ac195b-011b-467c-86d4-321df89323d0" providerId="ADAL" clId="{0C687AD9-2800-41E2-AA69-D02ABC7EDD76}" dt="2023-11-13T21:29:34.318" v="1887" actId="478"/>
          <ac:picMkLst>
            <pc:docMk/>
            <pc:sldMk cId="2669769147" sldId="3010"/>
            <ac:picMk id="2" creationId="{0A557F32-12B9-0A42-5F6E-E473129788D5}"/>
          </ac:picMkLst>
        </pc:picChg>
        <pc:picChg chg="add mod modCrop">
          <ac:chgData name="Otavio Augusto Sabia Gava" userId="68ac195b-011b-467c-86d4-321df89323d0" providerId="ADAL" clId="{0C687AD9-2800-41E2-AA69-D02ABC7EDD76}" dt="2023-11-13T21:30:20.140" v="1898" actId="732"/>
          <ac:picMkLst>
            <pc:docMk/>
            <pc:sldMk cId="2669769147" sldId="3010"/>
            <ac:picMk id="7" creationId="{8CCDB3E6-40D8-C11D-1007-C8F609DFF071}"/>
          </ac:picMkLst>
        </pc:picChg>
        <pc:picChg chg="add del mod">
          <ac:chgData name="Otavio Augusto Sabia Gava" userId="68ac195b-011b-467c-86d4-321df89323d0" providerId="ADAL" clId="{0C687AD9-2800-41E2-AA69-D02ABC7EDD76}" dt="2023-11-13T21:29:42.856" v="1891" actId="478"/>
          <ac:picMkLst>
            <pc:docMk/>
            <pc:sldMk cId="2669769147" sldId="3010"/>
            <ac:picMk id="10" creationId="{200AA674-E02B-6B1A-8383-1352201753AA}"/>
          </ac:picMkLst>
        </pc:picChg>
        <pc:picChg chg="add del mod">
          <ac:chgData name="Otavio Augusto Sabia Gava" userId="68ac195b-011b-467c-86d4-321df89323d0" providerId="ADAL" clId="{0C687AD9-2800-41E2-AA69-D02ABC7EDD76}" dt="2023-11-13T21:29:43.202" v="1892" actId="478"/>
          <ac:picMkLst>
            <pc:docMk/>
            <pc:sldMk cId="2669769147" sldId="3010"/>
            <ac:picMk id="11" creationId="{1DB71FCB-D542-6E52-EF14-597086ED8F9E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4-02-01T17:55:57.919" v="30635"/>
        <pc:sldMkLst>
          <pc:docMk/>
          <pc:sldMk cId="3488698688" sldId="3011"/>
        </pc:sldMkLst>
        <pc:spChg chg="add mod">
          <ac:chgData name="Otavio Augusto Sabia Gava" userId="68ac195b-011b-467c-86d4-321df89323d0" providerId="ADAL" clId="{0C687AD9-2800-41E2-AA69-D02ABC7EDD76}" dt="2023-11-16T19:58:27.358" v="2359" actId="20577"/>
          <ac:spMkLst>
            <pc:docMk/>
            <pc:sldMk cId="3488698688" sldId="3011"/>
            <ac:spMk id="2" creationId="{C835AEB5-15D2-77BB-AAE5-69CFA463A312}"/>
          </ac:spMkLst>
        </pc:spChg>
        <pc:spChg chg="mod">
          <ac:chgData name="Otavio Augusto Sabia Gava" userId="68ac195b-011b-467c-86d4-321df89323d0" providerId="ADAL" clId="{0C687AD9-2800-41E2-AA69-D02ABC7EDD76}" dt="2023-11-13T21:31:09.792" v="1917" actId="20577"/>
          <ac:spMkLst>
            <pc:docMk/>
            <pc:sldMk cId="3488698688" sldId="3011"/>
            <ac:spMk id="4" creationId="{60F71F05-9F8B-46F3-9257-8A733FDC147F}"/>
          </ac:spMkLst>
        </pc:spChg>
        <pc:spChg chg="del">
          <ac:chgData name="Otavio Augusto Sabia Gava" userId="68ac195b-011b-467c-86d4-321df89323d0" providerId="ADAL" clId="{0C687AD9-2800-41E2-AA69-D02ABC7EDD76}" dt="2023-11-13T21:31:13.290" v="1918" actId="478"/>
          <ac:spMkLst>
            <pc:docMk/>
            <pc:sldMk cId="3488698688" sldId="3011"/>
            <ac:spMk id="8" creationId="{80C14B0F-189C-F16F-6992-AD412320CA3E}"/>
          </ac:spMkLst>
        </pc:spChg>
        <pc:spChg chg="del">
          <ac:chgData name="Otavio Augusto Sabia Gava" userId="68ac195b-011b-467c-86d4-321df89323d0" providerId="ADAL" clId="{0C687AD9-2800-41E2-AA69-D02ABC7EDD76}" dt="2023-11-13T21:31:13.290" v="1918" actId="478"/>
          <ac:spMkLst>
            <pc:docMk/>
            <pc:sldMk cId="3488698688" sldId="3011"/>
            <ac:spMk id="9" creationId="{5BBBFCCA-8963-EBFD-E816-35856C55DFCC}"/>
          </ac:spMkLst>
        </pc:spChg>
        <pc:picChg chg="add mod">
          <ac:chgData name="Otavio Augusto Sabia Gava" userId="68ac195b-011b-467c-86d4-321df89323d0" providerId="ADAL" clId="{0C687AD9-2800-41E2-AA69-D02ABC7EDD76}" dt="2023-11-13T21:31:35.980" v="1928" actId="1036"/>
          <ac:picMkLst>
            <pc:docMk/>
            <pc:sldMk cId="3488698688" sldId="3011"/>
            <ac:picMk id="3" creationId="{3D6FE866-B8BE-7FDE-9EC6-9FFC1A65AD84}"/>
          </ac:picMkLst>
        </pc:picChg>
        <pc:picChg chg="add mod">
          <ac:chgData name="Otavio Augusto Sabia Gava" userId="68ac195b-011b-467c-86d4-321df89323d0" providerId="ADAL" clId="{0C687AD9-2800-41E2-AA69-D02ABC7EDD76}" dt="2023-11-13T21:31:35.980" v="1928" actId="1036"/>
          <ac:picMkLst>
            <pc:docMk/>
            <pc:sldMk cId="3488698688" sldId="3011"/>
            <ac:picMk id="5" creationId="{15D41E2D-9E06-28F3-8156-1061F655538B}"/>
          </ac:picMkLst>
        </pc:picChg>
        <pc:picChg chg="add mod">
          <ac:chgData name="Otavio Augusto Sabia Gava" userId="68ac195b-011b-467c-86d4-321df89323d0" providerId="ADAL" clId="{0C687AD9-2800-41E2-AA69-D02ABC7EDD76}" dt="2023-11-13T21:31:35.980" v="1928" actId="1036"/>
          <ac:picMkLst>
            <pc:docMk/>
            <pc:sldMk cId="3488698688" sldId="3011"/>
            <ac:picMk id="6" creationId="{CBD8A536-676A-A2F6-4D8D-6DC281784BE5}"/>
          </ac:picMkLst>
        </pc:picChg>
        <pc:picChg chg="add del mod">
          <ac:chgData name="Otavio Augusto Sabia Gava" userId="68ac195b-011b-467c-86d4-321df89323d0" providerId="ADAL" clId="{0C687AD9-2800-41E2-AA69-D02ABC7EDD76}" dt="2023-11-20T13:17:24.322" v="4128" actId="478"/>
          <ac:picMkLst>
            <pc:docMk/>
            <pc:sldMk cId="3488698688" sldId="3011"/>
            <ac:picMk id="7" creationId="{70D3CFA2-E387-6734-FEA7-0021F58E4F5F}"/>
          </ac:picMkLst>
        </pc:picChg>
        <pc:picChg chg="del">
          <ac:chgData name="Otavio Augusto Sabia Gava" userId="68ac195b-011b-467c-86d4-321df89323d0" providerId="ADAL" clId="{0C687AD9-2800-41E2-AA69-D02ABC7EDD76}" dt="2023-11-13T21:31:13.290" v="1918" actId="478"/>
          <ac:picMkLst>
            <pc:docMk/>
            <pc:sldMk cId="3488698688" sldId="3011"/>
            <ac:picMk id="7" creationId="{8CCDB3E6-40D8-C11D-1007-C8F609DFF071}"/>
          </ac:picMkLst>
        </pc:picChg>
        <pc:picChg chg="add del mod">
          <ac:chgData name="Otavio Augusto Sabia Gava" userId="68ac195b-011b-467c-86d4-321df89323d0" providerId="ADAL" clId="{0C687AD9-2800-41E2-AA69-D02ABC7EDD76}" dt="2023-11-20T13:17:24.322" v="4128" actId="478"/>
          <ac:picMkLst>
            <pc:docMk/>
            <pc:sldMk cId="3488698688" sldId="3011"/>
            <ac:picMk id="8" creationId="{949B2E84-02D9-95C6-A0D9-EE25B41CD989}"/>
          </ac:picMkLst>
        </pc:picChg>
        <pc:picChg chg="add mod">
          <ac:chgData name="Otavio Augusto Sabia Gava" userId="68ac195b-011b-467c-86d4-321df89323d0" providerId="ADAL" clId="{0C687AD9-2800-41E2-AA69-D02ABC7EDD76}" dt="2024-02-01T17:55:57.919" v="30635"/>
          <ac:picMkLst>
            <pc:docMk/>
            <pc:sldMk cId="3488698688" sldId="3011"/>
            <ac:picMk id="9" creationId="{905247EB-C8C7-99C7-BC36-F6C3919C68DC}"/>
          </ac:picMkLst>
        </pc:picChg>
        <pc:picChg chg="add mod">
          <ac:chgData name="Otavio Augusto Sabia Gava" userId="68ac195b-011b-467c-86d4-321df89323d0" providerId="ADAL" clId="{0C687AD9-2800-41E2-AA69-D02ABC7EDD76}" dt="2023-11-13T21:31:35.980" v="1928" actId="1036"/>
          <ac:picMkLst>
            <pc:docMk/>
            <pc:sldMk cId="3488698688" sldId="3011"/>
            <ac:picMk id="10" creationId="{C85E7302-69A5-B457-8A0A-B41D25B3C3CC}"/>
          </ac:picMkLst>
        </pc:picChg>
        <pc:picChg chg="add mod">
          <ac:chgData name="Otavio Augusto Sabia Gava" userId="68ac195b-011b-467c-86d4-321df89323d0" providerId="ADAL" clId="{0C687AD9-2800-41E2-AA69-D02ABC7EDD76}" dt="2023-11-20T13:19:24.607" v="4143"/>
          <ac:picMkLst>
            <pc:docMk/>
            <pc:sldMk cId="3488698688" sldId="3011"/>
            <ac:picMk id="11" creationId="{1220F6B4-4188-4245-A440-A52219E48C8C}"/>
          </ac:picMkLst>
        </pc:picChg>
      </pc:sldChg>
      <pc:sldChg chg="modSp add mod or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4039958725" sldId="3012"/>
        </pc:sldMkLst>
        <pc:spChg chg="mod">
          <ac:chgData name="Otavio Augusto Sabia Gava" userId="68ac195b-011b-467c-86d4-321df89323d0" providerId="ADAL" clId="{0C687AD9-2800-41E2-AA69-D02ABC7EDD76}" dt="2023-11-17T14:06:01.467" v="2516" actId="207"/>
          <ac:spMkLst>
            <pc:docMk/>
            <pc:sldMk cId="4039958725" sldId="3012"/>
            <ac:spMk id="5" creationId="{FF00CDB5-30D8-F9DC-807D-98BFF00FE630}"/>
          </ac:spMkLst>
        </pc:spChg>
        <pc:spChg chg="mod">
          <ac:chgData name="Otavio Augusto Sabia Gava" userId="68ac195b-011b-467c-86d4-321df89323d0" providerId="ADAL" clId="{0C687AD9-2800-41E2-AA69-D02ABC7EDD76}" dt="2023-11-17T14:06:48.927" v="2520" actId="207"/>
          <ac:spMkLst>
            <pc:docMk/>
            <pc:sldMk cId="4039958725" sldId="3012"/>
            <ac:spMk id="9" creationId="{7C14975B-5EE5-75BF-0875-986E8D50BF1A}"/>
          </ac:spMkLst>
        </pc:spChg>
        <pc:spChg chg="mod">
          <ac:chgData name="Otavio Augusto Sabia Gava" userId="68ac195b-011b-467c-86d4-321df89323d0" providerId="ADAL" clId="{0C687AD9-2800-41E2-AA69-D02ABC7EDD76}" dt="2023-11-17T14:31:08.520" v="2522" actId="208"/>
          <ac:spMkLst>
            <pc:docMk/>
            <pc:sldMk cId="4039958725" sldId="3012"/>
            <ac:spMk id="21" creationId="{CA3E9C12-2888-5BBB-B326-5BE1704DE9BE}"/>
          </ac:spMkLst>
        </pc:spChg>
        <pc:spChg chg="mod">
          <ac:chgData name="Otavio Augusto Sabia Gava" userId="68ac195b-011b-467c-86d4-321df89323d0" providerId="ADAL" clId="{0C687AD9-2800-41E2-AA69-D02ABC7EDD76}" dt="2023-11-17T14:06:33.182" v="2519" actId="208"/>
          <ac:spMkLst>
            <pc:docMk/>
            <pc:sldMk cId="4039958725" sldId="3012"/>
            <ac:spMk id="22" creationId="{9552E9CF-978B-28A3-344C-109395DB05E2}"/>
          </ac:spMkLst>
        </pc:spChg>
        <pc:spChg chg="mod">
          <ac:chgData name="Otavio Augusto Sabia Gava" userId="68ac195b-011b-467c-86d4-321df89323d0" providerId="ADAL" clId="{0C687AD9-2800-41E2-AA69-D02ABC7EDD76}" dt="2023-11-17T14:06:21.082" v="2518" actId="208"/>
          <ac:spMkLst>
            <pc:docMk/>
            <pc:sldMk cId="4039958725" sldId="3012"/>
            <ac:spMk id="27" creationId="{5FB67012-FBB0-1027-9E4B-F1DFA47B5533}"/>
          </ac:spMkLst>
        </pc:spChg>
        <pc:spChg chg="mod">
          <ac:chgData name="Otavio Augusto Sabia Gava" userId="68ac195b-011b-467c-86d4-321df89323d0" providerId="ADAL" clId="{0C687AD9-2800-41E2-AA69-D02ABC7EDD76}" dt="2023-11-17T14:31:17.038" v="2523" actId="208"/>
          <ac:spMkLst>
            <pc:docMk/>
            <pc:sldMk cId="4039958725" sldId="3012"/>
            <ac:spMk id="28" creationId="{A14FC4A7-BFAD-1DC9-C0C7-B985B3BCA1D5}"/>
          </ac:spMkLst>
        </pc:spChg>
      </pc:sldChg>
      <pc:sldChg chg="new del">
        <pc:chgData name="Otavio Augusto Sabia Gava" userId="68ac195b-011b-467c-86d4-321df89323d0" providerId="ADAL" clId="{0C687AD9-2800-41E2-AA69-D02ABC7EDD76}" dt="2023-11-17T14:54:22.967" v="2529" actId="680"/>
        <pc:sldMkLst>
          <pc:docMk/>
          <pc:sldMk cId="1697322711" sldId="3013"/>
        </pc:sldMkLst>
      </pc:sldChg>
      <pc:sldChg chg="addSp delSp modSp add del mod modShow modNotesTx">
        <pc:chgData name="Otavio Augusto Sabia Gava" userId="68ac195b-011b-467c-86d4-321df89323d0" providerId="ADAL" clId="{0C687AD9-2800-41E2-AA69-D02ABC7EDD76}" dt="2023-11-29T18:36:28.088" v="28766" actId="47"/>
        <pc:sldMkLst>
          <pc:docMk/>
          <pc:sldMk cId="2648580776" sldId="3013"/>
        </pc:sldMkLst>
        <pc:spChg chg="add del mod">
          <ac:chgData name="Otavio Augusto Sabia Gava" userId="68ac195b-011b-467c-86d4-321df89323d0" providerId="ADAL" clId="{0C687AD9-2800-41E2-AA69-D02ABC7EDD76}" dt="2023-11-20T02:38:34.399" v="2951" actId="478"/>
          <ac:spMkLst>
            <pc:docMk/>
            <pc:sldMk cId="2648580776" sldId="3013"/>
            <ac:spMk id="2" creationId="{15A89BCB-51D6-80B5-7C30-0B946A4D363F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" creationId="{4661A1A9-D6E3-15AF-3CEC-84767F3C8C19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3" creationId="{1DE8F8FC-C3EF-DCF2-EEE9-0E6D87D20E2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" creationId="{81A2C514-BC90-8229-BF12-550871F7DB0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" creationId="{1F073EA6-0F71-FAF1-68C1-EFCE941DBD6E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4" creationId="{E83977D4-98EE-8C96-4FEE-E95851B4169A}"/>
          </ac:spMkLst>
        </pc:spChg>
        <pc:spChg chg="mod">
          <ac:chgData name="Otavio Augusto Sabia Gava" userId="68ac195b-011b-467c-86d4-321df89323d0" providerId="ADAL" clId="{0C687AD9-2800-41E2-AA69-D02ABC7EDD76}" dt="2023-11-22T17:44:55.231" v="16980" actId="13926"/>
          <ac:spMkLst>
            <pc:docMk/>
            <pc:sldMk cId="2648580776" sldId="3013"/>
            <ac:spMk id="5" creationId="{691BD817-ED31-4962-832B-1254437B69A3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6" creationId="{B9CD6DAE-7396-6C9D-0A92-2B7B44BCE1D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" creationId="{BB4B51E2-2B1C-D3F7-9ECE-22234FDAB9D3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7" creationId="{092A41B4-AC8D-74AF-B284-07ADBE8FCEA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" creationId="{3B85B9A5-AA2E-4F5E-89B5-EC9270FCF561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8" creationId="{BA7DD032-D98C-1F10-DFD3-CEA9EF6609E6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9" creationId="{C7590F68-AAEF-D207-EB4B-BEE435AB20B7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10" creationId="{5AB57DC1-39B5-5811-6DB8-B429233EE9C0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11" creationId="{B93B685B-124B-DFE8-5B40-E0549FB7BA74}"/>
          </ac:spMkLst>
        </pc:spChg>
        <pc:spChg chg="add del mod">
          <ac:chgData name="Otavio Augusto Sabia Gava" userId="68ac195b-011b-467c-86d4-321df89323d0" providerId="ADAL" clId="{0C687AD9-2800-41E2-AA69-D02ABC7EDD76}" dt="2023-11-18T21:46:36.590" v="2709" actId="478"/>
          <ac:spMkLst>
            <pc:docMk/>
            <pc:sldMk cId="2648580776" sldId="3013"/>
            <ac:spMk id="12" creationId="{BE100FC4-12EA-BF99-89D5-849F0C969647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4" creationId="{F1247E79-AFB0-3BFC-7B38-9EB5B4A9782A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5" creationId="{3571731C-9B56-92B9-8459-71591970E77D}"/>
          </ac:spMkLst>
        </pc:spChg>
        <pc:spChg chg="add del mod">
          <ac:chgData name="Otavio Augusto Sabia Gava" userId="68ac195b-011b-467c-86d4-321df89323d0" providerId="ADAL" clId="{0C687AD9-2800-41E2-AA69-D02ABC7EDD76}" dt="2023-11-18T21:47:05.061" v="2719"/>
          <ac:spMkLst>
            <pc:docMk/>
            <pc:sldMk cId="2648580776" sldId="3013"/>
            <ac:spMk id="16" creationId="{590C8A3E-B6FE-7015-71EA-40D9FC9FA188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6" creationId="{EAE6DB29-72F4-E7B1-9249-8C3E0FCA175F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7" creationId="{2B322AF6-20DB-EF72-A74A-B14B3CFC0EB6}"/>
          </ac:spMkLst>
        </pc:spChg>
        <pc:spChg chg="add del mod">
          <ac:chgData name="Otavio Augusto Sabia Gava" userId="68ac195b-011b-467c-86d4-321df89323d0" providerId="ADAL" clId="{0C687AD9-2800-41E2-AA69-D02ABC7EDD76}" dt="2023-11-18T21:47:05.061" v="2719"/>
          <ac:spMkLst>
            <pc:docMk/>
            <pc:sldMk cId="2648580776" sldId="3013"/>
            <ac:spMk id="17" creationId="{6D864E6C-F81C-AF78-7383-0E30200EC36B}"/>
          </ac:spMkLst>
        </pc:spChg>
        <pc:spChg chg="add del mod">
          <ac:chgData name="Otavio Augusto Sabia Gava" userId="68ac195b-011b-467c-86d4-321df89323d0" providerId="ADAL" clId="{0C687AD9-2800-41E2-AA69-D02ABC7EDD76}" dt="2023-11-18T21:47:05.061" v="2719"/>
          <ac:spMkLst>
            <pc:docMk/>
            <pc:sldMk cId="2648580776" sldId="3013"/>
            <ac:spMk id="18" creationId="{7A4846AC-9C20-575E-2B17-628DB68BE82B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8" creationId="{EB9AE4C0-E2E2-A2A8-C74E-4678483EA68D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19" creationId="{AFE92E6E-54B4-54C1-67DC-AC436495D73F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20" creationId="{4959A6D8-821E-D4A9-4498-FA48D705AB72}"/>
          </ac:spMkLst>
        </pc:spChg>
        <pc:spChg chg="add del mod">
          <ac:chgData name="Otavio Augusto Sabia Gava" userId="68ac195b-011b-467c-86d4-321df89323d0" providerId="ADAL" clId="{0C687AD9-2800-41E2-AA69-D02ABC7EDD76}" dt="2023-11-18T21:47:04.267" v="2717"/>
          <ac:spMkLst>
            <pc:docMk/>
            <pc:sldMk cId="2648580776" sldId="3013"/>
            <ac:spMk id="20" creationId="{FEF3447D-0E3F-9CC3-8648-709B9AA3A6BA}"/>
          </ac:spMkLst>
        </pc:spChg>
        <pc:spChg chg="add del mod">
          <ac:chgData name="Otavio Augusto Sabia Gava" userId="68ac195b-011b-467c-86d4-321df89323d0" providerId="ADAL" clId="{0C687AD9-2800-41E2-AA69-D02ABC7EDD76}" dt="2023-11-18T21:47:04.267" v="2717"/>
          <ac:spMkLst>
            <pc:docMk/>
            <pc:sldMk cId="2648580776" sldId="3013"/>
            <ac:spMk id="21" creationId="{1FB496FD-F808-77E0-AE0C-7F9D77DE6E05}"/>
          </ac:spMkLst>
        </pc:spChg>
        <pc:spChg chg="add del mod">
          <ac:chgData name="Otavio Augusto Sabia Gava" userId="68ac195b-011b-467c-86d4-321df89323d0" providerId="ADAL" clId="{0C687AD9-2800-41E2-AA69-D02ABC7EDD76}" dt="2023-11-20T02:48:35.365" v="3065" actId="478"/>
          <ac:spMkLst>
            <pc:docMk/>
            <pc:sldMk cId="2648580776" sldId="3013"/>
            <ac:spMk id="21" creationId="{35545C85-7B0B-5431-914B-E5597987762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1" creationId="{C284B8CD-AE5F-DAFE-1B4A-129E25C64B5E}"/>
          </ac:spMkLst>
        </pc:spChg>
        <pc:spChg chg="add del mod">
          <ac:chgData name="Otavio Augusto Sabia Gava" userId="68ac195b-011b-467c-86d4-321df89323d0" providerId="ADAL" clId="{0C687AD9-2800-41E2-AA69-D02ABC7EDD76}" dt="2023-11-18T21:47:04.267" v="2717"/>
          <ac:spMkLst>
            <pc:docMk/>
            <pc:sldMk cId="2648580776" sldId="3013"/>
            <ac:spMk id="22" creationId="{2E9A1961-B2DB-2574-78E8-EBB0D8535A1F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2" creationId="{939CD0FC-642D-470A-7803-651E5BA8ED2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3" creationId="{65A74C69-B2B9-7E61-9F34-83A09093E5E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4" creationId="{738EB704-0AC0-9A8C-F991-C61BF756C7AF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4" creationId="{FF284B99-F0F7-1B80-E576-9EF88766D4D9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25" creationId="{87F4C2C2-156B-7EAF-F4DC-F6E45641122A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5" creationId="{8A187BE7-F8B4-94D9-916E-09CEEB194B0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5" creationId="{B0E6F16A-006F-D41A-EAED-53E21E86DA6A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26" creationId="{5DE5730C-52C8-9393-C43D-C2A1D67F8499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6" creationId="{638A5FE8-AA32-6864-7855-CF3B2DBFE01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6" creationId="{DDDB74B1-FDA9-7020-1F05-A37182C15738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7" creationId="{C434BCEB-D234-FF54-D62F-6CFC1A3FD6E0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27" creationId="{D4099A0F-A8A4-BE93-BF9D-0F989410BF78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7" creationId="{D93DF586-0E10-798B-EC6A-C5FC23BBDFF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8" creationId="{426A9BB9-241D-42E7-74D8-F09D78336B16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8" creationId="{C4E04E25-2AB2-A8A3-9AAA-D66AE1E429FD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28" creationId="{C5EF27AF-24E5-A5F6-5CE7-72CEC901F56C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29" creationId="{12636FDB-3070-F494-C089-BC5884F4D66F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29" creationId="{73C0D752-F8BD-E974-437C-56D637A17DA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29" creationId="{E2DD2DC7-AA84-96EC-E13F-79BAAB95D2D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0" creationId="{33E62DCE-B372-681A-C39D-E75049732520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0" creationId="{46A9B6EA-3331-8CCF-A8FA-C25CF052C70F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30" creationId="{D8B3966A-0D5B-09F3-4DA0-991D9D2859C7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31" creationId="{44697857-9DB9-0D28-5F3A-BFED65E5251E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1" creationId="{A5ADF63C-6BAA-9667-BA78-7BF6671988E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1" creationId="{A8866C1F-B3E3-DF7C-5916-5550419ED0B8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2" creationId="{B213F5F6-8AB4-F7A0-CC36-998376F0C431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2" creationId="{BCD63372-9F5A-51FB-4205-088ACF4A43FB}"/>
          </ac:spMkLst>
        </pc:spChg>
        <pc:spChg chg="add del mod">
          <ac:chgData name="Otavio Augusto Sabia Gava" userId="68ac195b-011b-467c-86d4-321df89323d0" providerId="ADAL" clId="{0C687AD9-2800-41E2-AA69-D02ABC7EDD76}" dt="2023-11-20T02:50:26.119" v="3071" actId="478"/>
          <ac:spMkLst>
            <pc:docMk/>
            <pc:sldMk cId="2648580776" sldId="3013"/>
            <ac:spMk id="32" creationId="{EAA9BC8A-4E4B-8B8C-8013-EA64C4185DF0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3" creationId="{433BA23A-8FAF-EC2D-7C0C-4F5F3825418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3" creationId="{6C751ECF-F2D6-AA94-F1ED-4FBF50D7F106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4" creationId="{342E6B00-01E2-9F9F-C28D-144CCE302E2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4" creationId="{5A3249D3-7E50-19B9-8D16-61AB2489483B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5" creationId="{CE71F52E-7022-BA58-B830-0A56D94F1C4C}"/>
          </ac:spMkLst>
        </pc:spChg>
        <pc:spChg chg="add del mod">
          <ac:chgData name="Otavio Augusto Sabia Gava" userId="68ac195b-011b-467c-86d4-321df89323d0" providerId="ADAL" clId="{0C687AD9-2800-41E2-AA69-D02ABC7EDD76}" dt="2023-11-18T21:48:39.661" v="2767" actId="478"/>
          <ac:spMkLst>
            <pc:docMk/>
            <pc:sldMk cId="2648580776" sldId="3013"/>
            <ac:spMk id="35" creationId="{F866C0D0-1752-87D0-5501-54B9A85985B3}"/>
          </ac:spMkLst>
        </pc:spChg>
        <pc:spChg chg="add del mod">
          <ac:chgData name="Otavio Augusto Sabia Gava" userId="68ac195b-011b-467c-86d4-321df89323d0" providerId="ADAL" clId="{0C687AD9-2800-41E2-AA69-D02ABC7EDD76}" dt="2023-11-20T02:51:14.185" v="3087"/>
          <ac:spMkLst>
            <pc:docMk/>
            <pc:sldMk cId="2648580776" sldId="3013"/>
            <ac:spMk id="36" creationId="{384A44ED-CE13-95AB-C0F7-C5E633A00D5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6" creationId="{CCAC2946-2E44-09FB-E4B4-C62E2E465439}"/>
          </ac:spMkLst>
        </pc:spChg>
        <pc:spChg chg="add del mod">
          <ac:chgData name="Otavio Augusto Sabia Gava" userId="68ac195b-011b-467c-86d4-321df89323d0" providerId="ADAL" clId="{0C687AD9-2800-41E2-AA69-D02ABC7EDD76}" dt="2023-11-18T21:48:37.180" v="2766"/>
          <ac:spMkLst>
            <pc:docMk/>
            <pc:sldMk cId="2648580776" sldId="3013"/>
            <ac:spMk id="36" creationId="{EFEF179B-A94A-E799-60AA-DC4B34D154E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7" creationId="{53797D7E-7672-D21E-2AE7-D7FAF7CB50CE}"/>
          </ac:spMkLst>
        </pc:spChg>
        <pc:spChg chg="add mod">
          <ac:chgData name="Otavio Augusto Sabia Gava" userId="68ac195b-011b-467c-86d4-321df89323d0" providerId="ADAL" clId="{0C687AD9-2800-41E2-AA69-D02ABC7EDD76}" dt="2023-11-20T03:06:16.916" v="3532" actId="1076"/>
          <ac:spMkLst>
            <pc:docMk/>
            <pc:sldMk cId="2648580776" sldId="3013"/>
            <ac:spMk id="37" creationId="{72C8E118-A821-83CE-B0E6-F441703E2BC8}"/>
          </ac:spMkLst>
        </pc:spChg>
        <pc:spChg chg="add del mod">
          <ac:chgData name="Otavio Augusto Sabia Gava" userId="68ac195b-011b-467c-86d4-321df89323d0" providerId="ADAL" clId="{0C687AD9-2800-41E2-AA69-D02ABC7EDD76}" dt="2023-11-18T21:48:37.180" v="2766"/>
          <ac:spMkLst>
            <pc:docMk/>
            <pc:sldMk cId="2648580776" sldId="3013"/>
            <ac:spMk id="37" creationId="{DBEF21C9-4FA0-A5C0-34F2-D48FC28F1663}"/>
          </ac:spMkLst>
        </pc:spChg>
        <pc:spChg chg="add del mod">
          <ac:chgData name="Otavio Augusto Sabia Gava" userId="68ac195b-011b-467c-86d4-321df89323d0" providerId="ADAL" clId="{0C687AD9-2800-41E2-AA69-D02ABC7EDD76}" dt="2023-11-18T21:48:37.180" v="2766"/>
          <ac:spMkLst>
            <pc:docMk/>
            <pc:sldMk cId="2648580776" sldId="3013"/>
            <ac:spMk id="38" creationId="{6381C901-9123-0B12-C01D-8765C4147A3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8" creationId="{DDAA5D6D-F27A-3319-E8B2-8FBEFF9F2D1C}"/>
          </ac:spMkLst>
        </pc:spChg>
        <pc:spChg chg="add mod">
          <ac:chgData name="Otavio Augusto Sabia Gava" userId="68ac195b-011b-467c-86d4-321df89323d0" providerId="ADAL" clId="{0C687AD9-2800-41E2-AA69-D02ABC7EDD76}" dt="2023-11-27T12:09:38.095" v="17147" actId="20577"/>
          <ac:spMkLst>
            <pc:docMk/>
            <pc:sldMk cId="2648580776" sldId="3013"/>
            <ac:spMk id="38" creationId="{FAB55431-9773-30D3-6CC7-B145C4A6656C}"/>
          </ac:spMkLst>
        </pc:spChg>
        <pc:spChg chg="add del mod">
          <ac:chgData name="Otavio Augusto Sabia Gava" userId="68ac195b-011b-467c-86d4-321df89323d0" providerId="ADAL" clId="{0C687AD9-2800-41E2-AA69-D02ABC7EDD76}" dt="2023-11-20T13:01:31.924" v="3992" actId="113"/>
          <ac:spMkLst>
            <pc:docMk/>
            <pc:sldMk cId="2648580776" sldId="3013"/>
            <ac:spMk id="39" creationId="{D43FF608-ADB7-C07C-1BBF-5D3FA59B20E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39" creationId="{EAA1E91B-157A-AA1A-74FA-401C262721D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0" creationId="{22ECBFC8-207F-7FA1-A8BE-19BC555DCFDA}"/>
          </ac:spMkLst>
        </pc:spChg>
        <pc:spChg chg="add mod">
          <ac:chgData name="Otavio Augusto Sabia Gava" userId="68ac195b-011b-467c-86d4-321df89323d0" providerId="ADAL" clId="{0C687AD9-2800-41E2-AA69-D02ABC7EDD76}" dt="2023-11-20T13:01:51.520" v="3998" actId="113"/>
          <ac:spMkLst>
            <pc:docMk/>
            <pc:sldMk cId="2648580776" sldId="3013"/>
            <ac:spMk id="40" creationId="{96FAA112-7E95-6315-FEA3-C06482F1D090}"/>
          </ac:spMkLst>
        </pc:spChg>
        <pc:spChg chg="add mod">
          <ac:chgData name="Otavio Augusto Sabia Gava" userId="68ac195b-011b-467c-86d4-321df89323d0" providerId="ADAL" clId="{0C687AD9-2800-41E2-AA69-D02ABC7EDD76}" dt="2023-11-20T03:03:32.580" v="3507" actId="1076"/>
          <ac:spMkLst>
            <pc:docMk/>
            <pc:sldMk cId="2648580776" sldId="3013"/>
            <ac:spMk id="41" creationId="{0D2B43DF-CFC3-8AFF-5E13-3D28FD82381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1" creationId="{184A1281-2AA0-49F8-F43A-F0A32DFF974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2" creationId="{2AA70AD9-2FB7-8036-3D3F-FEF15DBF8869}"/>
          </ac:spMkLst>
        </pc:spChg>
        <pc:spChg chg="add mod">
          <ac:chgData name="Otavio Augusto Sabia Gava" userId="68ac195b-011b-467c-86d4-321df89323d0" providerId="ADAL" clId="{0C687AD9-2800-41E2-AA69-D02ABC7EDD76}" dt="2023-11-28T18:06:42.587" v="19859" actId="13926"/>
          <ac:spMkLst>
            <pc:docMk/>
            <pc:sldMk cId="2648580776" sldId="3013"/>
            <ac:spMk id="42" creationId="{3C7EB66B-E713-35D9-666A-904EA8D28BB6}"/>
          </ac:spMkLst>
        </pc:spChg>
        <pc:spChg chg="add mod">
          <ac:chgData name="Otavio Augusto Sabia Gava" userId="68ac195b-011b-467c-86d4-321df89323d0" providerId="ADAL" clId="{0C687AD9-2800-41E2-AA69-D02ABC7EDD76}" dt="2023-11-20T12:59:31.222" v="3775" actId="1076"/>
          <ac:spMkLst>
            <pc:docMk/>
            <pc:sldMk cId="2648580776" sldId="3013"/>
            <ac:spMk id="43" creationId="{198C50E4-CE7E-A230-A373-3A991BD0721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3" creationId="{8124AB36-46DE-4269-885F-ED212F46F7F9}"/>
          </ac:spMkLst>
        </pc:spChg>
        <pc:spChg chg="add del mod">
          <ac:chgData name="Otavio Augusto Sabia Gava" userId="68ac195b-011b-467c-86d4-321df89323d0" providerId="ADAL" clId="{0C687AD9-2800-41E2-AA69-D02ABC7EDD76}" dt="2023-11-20T01:01:31.079" v="2792" actId="478"/>
          <ac:spMkLst>
            <pc:docMk/>
            <pc:sldMk cId="2648580776" sldId="3013"/>
            <ac:spMk id="44" creationId="{27C2494E-321A-B95D-E1D3-786C0927052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4" creationId="{3C3DE54F-BFDA-C36B-545C-46F00C80C741}"/>
          </ac:spMkLst>
        </pc:spChg>
        <pc:spChg chg="add mod">
          <ac:chgData name="Otavio Augusto Sabia Gava" userId="68ac195b-011b-467c-86d4-321df89323d0" providerId="ADAL" clId="{0C687AD9-2800-41E2-AA69-D02ABC7EDD76}" dt="2023-11-20T12:59:31.222" v="3775" actId="1076"/>
          <ac:spMkLst>
            <pc:docMk/>
            <pc:sldMk cId="2648580776" sldId="3013"/>
            <ac:spMk id="44" creationId="{9E15CB35-3EA8-C4E8-3362-DE2AB0D8CCB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5" creationId="{6354653F-FE34-A453-70D6-8BA572E97971}"/>
          </ac:spMkLst>
        </pc:spChg>
        <pc:spChg chg="add del mod">
          <ac:chgData name="Otavio Augusto Sabia Gava" userId="68ac195b-011b-467c-86d4-321df89323d0" providerId="ADAL" clId="{0C687AD9-2800-41E2-AA69-D02ABC7EDD76}" dt="2023-11-20T02:56:00.211" v="3426" actId="14100"/>
          <ac:spMkLst>
            <pc:docMk/>
            <pc:sldMk cId="2648580776" sldId="3013"/>
            <ac:spMk id="45" creationId="{9DD30752-8F43-316F-026E-0B480E27F43B}"/>
          </ac:spMkLst>
        </pc:spChg>
        <pc:spChg chg="add del mod">
          <ac:chgData name="Otavio Augusto Sabia Gava" userId="68ac195b-011b-467c-86d4-321df89323d0" providerId="ADAL" clId="{0C687AD9-2800-41E2-AA69-D02ABC7EDD76}" dt="2023-11-28T18:06:39.536" v="19858" actId="13926"/>
          <ac:spMkLst>
            <pc:docMk/>
            <pc:sldMk cId="2648580776" sldId="3013"/>
            <ac:spMk id="46" creationId="{30DD34B2-205B-494E-6F71-4D7B59FCDB0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6" creationId="{64569CC8-E7C0-BAD6-9E44-B06F37B8E3A1}"/>
          </ac:spMkLst>
        </pc:spChg>
        <pc:spChg chg="add mod">
          <ac:chgData name="Otavio Augusto Sabia Gava" userId="68ac195b-011b-467c-86d4-321df89323d0" providerId="ADAL" clId="{0C687AD9-2800-41E2-AA69-D02ABC7EDD76}" dt="2023-11-20T03:03:32.580" v="3507" actId="1076"/>
          <ac:spMkLst>
            <pc:docMk/>
            <pc:sldMk cId="2648580776" sldId="3013"/>
            <ac:spMk id="47" creationId="{1E68DDF8-4DC6-40E1-24DA-BAB508EF337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7" creationId="{D560F09D-1626-0653-6960-BC2932F416C4}"/>
          </ac:spMkLst>
        </pc:spChg>
        <pc:spChg chg="add del mod">
          <ac:chgData name="Otavio Augusto Sabia Gava" userId="68ac195b-011b-467c-86d4-321df89323d0" providerId="ADAL" clId="{0C687AD9-2800-41E2-AA69-D02ABC7EDD76}" dt="2023-11-20T01:01:31.079" v="2792" actId="478"/>
          <ac:spMkLst>
            <pc:docMk/>
            <pc:sldMk cId="2648580776" sldId="3013"/>
            <ac:spMk id="47" creationId="{ED532E90-4ABF-BB14-5E01-41620448D0AF}"/>
          </ac:spMkLst>
        </pc:spChg>
        <pc:spChg chg="add mod">
          <ac:chgData name="Otavio Augusto Sabia Gava" userId="68ac195b-011b-467c-86d4-321df89323d0" providerId="ADAL" clId="{0C687AD9-2800-41E2-AA69-D02ABC7EDD76}" dt="2023-11-20T03:03:32.580" v="3507" actId="1076"/>
          <ac:spMkLst>
            <pc:docMk/>
            <pc:sldMk cId="2648580776" sldId="3013"/>
            <ac:spMk id="48" creationId="{1EAB79BA-BF2C-7B80-1729-62ABD2487185}"/>
          </ac:spMkLst>
        </pc:spChg>
        <pc:spChg chg="add del mod">
          <ac:chgData name="Otavio Augusto Sabia Gava" userId="68ac195b-011b-467c-86d4-321df89323d0" providerId="ADAL" clId="{0C687AD9-2800-41E2-AA69-D02ABC7EDD76}" dt="2023-11-20T01:01:31.079" v="2792" actId="478"/>
          <ac:spMkLst>
            <pc:docMk/>
            <pc:sldMk cId="2648580776" sldId="3013"/>
            <ac:spMk id="48" creationId="{4DA1E4FA-B3A5-62D0-D0CA-41B3235B763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8" creationId="{5BF1D9FC-D677-EA01-2846-9560E0C0185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49" creationId="{7BCEFBC2-8089-9782-D77F-0575C2502086}"/>
          </ac:spMkLst>
        </pc:spChg>
        <pc:spChg chg="add mod">
          <ac:chgData name="Otavio Augusto Sabia Gava" userId="68ac195b-011b-467c-86d4-321df89323d0" providerId="ADAL" clId="{0C687AD9-2800-41E2-AA69-D02ABC7EDD76}" dt="2023-11-20T18:41:46.342" v="5990" actId="1035"/>
          <ac:spMkLst>
            <pc:docMk/>
            <pc:sldMk cId="2648580776" sldId="3013"/>
            <ac:spMk id="49" creationId="{9201518C-D283-D1F7-C225-63C8DE5E6956}"/>
          </ac:spMkLst>
        </pc:spChg>
        <pc:spChg chg="add del mod">
          <ac:chgData name="Otavio Augusto Sabia Gava" userId="68ac195b-011b-467c-86d4-321df89323d0" providerId="ADAL" clId="{0C687AD9-2800-41E2-AA69-D02ABC7EDD76}" dt="2023-11-20T01:01:31.079" v="2792" actId="478"/>
          <ac:spMkLst>
            <pc:docMk/>
            <pc:sldMk cId="2648580776" sldId="3013"/>
            <ac:spMk id="49" creationId="{93AEDDE8-E6E8-37F7-AC5D-A37D9FBCBBE1}"/>
          </ac:spMkLst>
        </pc:spChg>
        <pc:spChg chg="add del mod">
          <ac:chgData name="Otavio Augusto Sabia Gava" userId="68ac195b-011b-467c-86d4-321df89323d0" providerId="ADAL" clId="{0C687AD9-2800-41E2-AA69-D02ABC7EDD76}" dt="2023-11-20T01:01:08.313" v="2782" actId="478"/>
          <ac:spMkLst>
            <pc:docMk/>
            <pc:sldMk cId="2648580776" sldId="3013"/>
            <ac:spMk id="50" creationId="{4052C0A6-8DC0-6119-8014-C3008C3F2C19}"/>
          </ac:spMkLst>
        </pc:spChg>
        <pc:spChg chg="add mod">
          <ac:chgData name="Otavio Augusto Sabia Gava" userId="68ac195b-011b-467c-86d4-321df89323d0" providerId="ADAL" clId="{0C687AD9-2800-41E2-AA69-D02ABC7EDD76}" dt="2023-11-20T03:03:32.580" v="3507" actId="1076"/>
          <ac:spMkLst>
            <pc:docMk/>
            <pc:sldMk cId="2648580776" sldId="3013"/>
            <ac:spMk id="50" creationId="{670CBB8B-E627-B3E9-C740-DFB777A0889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0" creationId="{C9020182-8754-6602-7424-4919B02D3E3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1" creationId="{3802D5D7-5F63-83A8-88C8-9FEDC4519123}"/>
          </ac:spMkLst>
        </pc:spChg>
        <pc:spChg chg="add del mod">
          <ac:chgData name="Otavio Augusto Sabia Gava" userId="68ac195b-011b-467c-86d4-321df89323d0" providerId="ADAL" clId="{0C687AD9-2800-41E2-AA69-D02ABC7EDD76}" dt="2023-11-20T01:01:17.706" v="2790" actId="478"/>
          <ac:spMkLst>
            <pc:docMk/>
            <pc:sldMk cId="2648580776" sldId="3013"/>
            <ac:spMk id="51" creationId="{96DA9822-AD1E-24BF-CB36-F7579D400A3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2" creationId="{5015CCF7-9CCA-94C3-C445-15B738B65114}"/>
          </ac:spMkLst>
        </pc:spChg>
        <pc:spChg chg="add del mod">
          <ac:chgData name="Otavio Augusto Sabia Gava" userId="68ac195b-011b-467c-86d4-321df89323d0" providerId="ADAL" clId="{0C687AD9-2800-41E2-AA69-D02ABC7EDD76}" dt="2023-11-20T01:01:16.855" v="2789" actId="478"/>
          <ac:spMkLst>
            <pc:docMk/>
            <pc:sldMk cId="2648580776" sldId="3013"/>
            <ac:spMk id="52" creationId="{BB1C1D58-60F4-72D2-99BC-323826A6042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3" creationId="{3D319D2F-16E4-ABDF-B2FC-31A48BB53CF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4" creationId="{88FC121E-EF21-E533-60EF-16D1086CC27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5" creationId="{73ADE222-591B-4CA2-9CC2-4420C2448729}"/>
          </ac:spMkLst>
        </pc:spChg>
        <pc:spChg chg="add mod">
          <ac:chgData name="Otavio Augusto Sabia Gava" userId="68ac195b-011b-467c-86d4-321df89323d0" providerId="ADAL" clId="{0C687AD9-2800-41E2-AA69-D02ABC7EDD76}" dt="2023-11-20T18:41:50.339" v="6001" actId="1035"/>
          <ac:spMkLst>
            <pc:docMk/>
            <pc:sldMk cId="2648580776" sldId="3013"/>
            <ac:spMk id="55" creationId="{FE77F5A9-9A5C-CEDC-9B48-CFBEDAB660CD}"/>
          </ac:spMkLst>
        </pc:spChg>
        <pc:spChg chg="add mod">
          <ac:chgData name="Otavio Augusto Sabia Gava" userId="68ac195b-011b-467c-86d4-321df89323d0" providerId="ADAL" clId="{0C687AD9-2800-41E2-AA69-D02ABC7EDD76}" dt="2023-11-20T12:59:24.796" v="3774" actId="1076"/>
          <ac:spMkLst>
            <pc:docMk/>
            <pc:sldMk cId="2648580776" sldId="3013"/>
            <ac:spMk id="56" creationId="{B9F064FB-5F1D-603D-E0DF-3B73D9D2404B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6" creationId="{FD830983-2B2A-2E93-9EDA-CBAC71F03FD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7" creationId="{6FA2114E-3929-9456-CC54-90E1599BD1D8}"/>
          </ac:spMkLst>
        </pc:spChg>
        <pc:spChg chg="add mod">
          <ac:chgData name="Otavio Augusto Sabia Gava" userId="68ac195b-011b-467c-86d4-321df89323d0" providerId="ADAL" clId="{0C687AD9-2800-41E2-AA69-D02ABC7EDD76}" dt="2023-11-20T12:59:24.796" v="3774" actId="1076"/>
          <ac:spMkLst>
            <pc:docMk/>
            <pc:sldMk cId="2648580776" sldId="3013"/>
            <ac:spMk id="57" creationId="{9806DE64-7D9B-A723-063B-C30FF612601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8" creationId="{31459727-4E71-A9DC-521A-82EA02EDA38D}"/>
          </ac:spMkLst>
        </pc:spChg>
        <pc:spChg chg="add mod">
          <ac:chgData name="Otavio Augusto Sabia Gava" userId="68ac195b-011b-467c-86d4-321df89323d0" providerId="ADAL" clId="{0C687AD9-2800-41E2-AA69-D02ABC7EDD76}" dt="2023-11-20T03:02:02.627" v="3495" actId="14100"/>
          <ac:spMkLst>
            <pc:docMk/>
            <pc:sldMk cId="2648580776" sldId="3013"/>
            <ac:spMk id="58" creationId="{718543CA-E745-A550-CB24-5F851B3BC7D7}"/>
          </ac:spMkLst>
        </pc:spChg>
        <pc:spChg chg="add mod">
          <ac:chgData name="Otavio Augusto Sabia Gava" userId="68ac195b-011b-467c-86d4-321df89323d0" providerId="ADAL" clId="{0C687AD9-2800-41E2-AA69-D02ABC7EDD76}" dt="2023-11-20T03:04:39.853" v="3514" actId="1076"/>
          <ac:spMkLst>
            <pc:docMk/>
            <pc:sldMk cId="2648580776" sldId="3013"/>
            <ac:spMk id="59" creationId="{3720787B-E9DC-24A4-4684-5FAE8F67716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59" creationId="{D1069C77-BBF8-0915-446A-3856210E0A1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0" creationId="{880F5EE8-70CD-EAE5-57FE-35CC3E289642}"/>
          </ac:spMkLst>
        </pc:spChg>
        <pc:spChg chg="add mod">
          <ac:chgData name="Otavio Augusto Sabia Gava" userId="68ac195b-011b-467c-86d4-321df89323d0" providerId="ADAL" clId="{0C687AD9-2800-41E2-AA69-D02ABC7EDD76}" dt="2023-11-20T03:01:41.597" v="3490" actId="207"/>
          <ac:spMkLst>
            <pc:docMk/>
            <pc:sldMk cId="2648580776" sldId="3013"/>
            <ac:spMk id="60" creationId="{A5026954-B2DA-0422-9733-1FA60CA4621F}"/>
          </ac:spMkLst>
        </pc:spChg>
        <pc:spChg chg="add mod">
          <ac:chgData name="Otavio Augusto Sabia Gava" userId="68ac195b-011b-467c-86d4-321df89323d0" providerId="ADAL" clId="{0C687AD9-2800-41E2-AA69-D02ABC7EDD76}" dt="2023-11-20T03:01:33.556" v="3489" actId="207"/>
          <ac:spMkLst>
            <pc:docMk/>
            <pc:sldMk cId="2648580776" sldId="3013"/>
            <ac:spMk id="61" creationId="{8465B7E7-DAC5-7411-B6E6-02D26BA2188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1" creationId="{C5CD455A-0F8F-DFC1-CE5C-1251D98BD23D}"/>
          </ac:spMkLst>
        </pc:spChg>
        <pc:spChg chg="add mod">
          <ac:chgData name="Otavio Augusto Sabia Gava" userId="68ac195b-011b-467c-86d4-321df89323d0" providerId="ADAL" clId="{0C687AD9-2800-41E2-AA69-D02ABC7EDD76}" dt="2023-11-20T20:42:50.604" v="6995" actId="113"/>
          <ac:spMkLst>
            <pc:docMk/>
            <pc:sldMk cId="2648580776" sldId="3013"/>
            <ac:spMk id="62" creationId="{2CF2DFE6-6A33-446A-5924-4D68A81BE3C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2" creationId="{7F8E9702-A3A5-97BB-D88B-0CD0145EB52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3" creationId="{4C9EFAB7-8C07-FDD0-B6BF-A5B5452CC3C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4" creationId="{52886408-3F07-E61C-0523-88064CE48D7B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4" creationId="{C60D913F-56F3-B3F0-AFDB-C7BC301384DE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5" creationId="{C02BB0B0-EE0D-8801-3ED7-E492BD737B1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5" creationId="{CA36ECE9-E299-0C92-4E0A-7D9CCC551903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6" creationId="{96C70FBF-D81F-0C48-2519-B84CBEFEBA4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6" creationId="{AD1101C4-2A1D-B114-E55A-D46B042080DE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7" creationId="{078E9ACA-D68C-161F-E1FB-5E86E1BAACD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7" creationId="{14845D51-93D1-2EF4-F93A-90453E0630F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8" creationId="{B9164FEC-C148-B276-1929-A29313748112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8" creationId="{CA3D380A-FFE0-7450-5BAA-0F1495C8605B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69" creationId="{75B579D9-5A1A-8FDA-6749-6A54D98A77A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69" creationId="{92A6E1D3-A191-F0F7-35F2-F87A04D9B81B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70" creationId="{394B1A12-AE3E-E7CB-4485-DA9185875C1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0" creationId="{5C94E47C-F8B6-FC18-AD66-73A3F2808ACA}"/>
          </ac:spMkLst>
        </pc:spChg>
        <pc:spChg chg="add del mod">
          <ac:chgData name="Otavio Augusto Sabia Gava" userId="68ac195b-011b-467c-86d4-321df89323d0" providerId="ADAL" clId="{0C687AD9-2800-41E2-AA69-D02ABC7EDD76}" dt="2023-11-20T02:46:59.613" v="3009" actId="478"/>
          <ac:spMkLst>
            <pc:docMk/>
            <pc:sldMk cId="2648580776" sldId="3013"/>
            <ac:spMk id="71" creationId="{5AC3C81A-8E50-9842-050E-D71293B8380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1" creationId="{D15AE9AE-0D57-B4C1-1D5C-6F589DF4E545}"/>
          </ac:spMkLst>
        </pc:spChg>
        <pc:spChg chg="add mod">
          <ac:chgData name="Otavio Augusto Sabia Gava" userId="68ac195b-011b-467c-86d4-321df89323d0" providerId="ADAL" clId="{0C687AD9-2800-41E2-AA69-D02ABC7EDD76}" dt="2023-11-27T14:15:20.091" v="19056" actId="13926"/>
          <ac:spMkLst>
            <pc:docMk/>
            <pc:sldMk cId="2648580776" sldId="3013"/>
            <ac:spMk id="72" creationId="{73E5245F-1FFC-F7A7-649D-E50C7E5B737F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2" creationId="{C39E365A-E550-9D58-1C69-4AF23FF7687B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3" creationId="{469AD45D-D290-72E0-35D7-023033598EC3}"/>
          </ac:spMkLst>
        </pc:spChg>
        <pc:spChg chg="add mod">
          <ac:chgData name="Otavio Augusto Sabia Gava" userId="68ac195b-011b-467c-86d4-321df89323d0" providerId="ADAL" clId="{0C687AD9-2800-41E2-AA69-D02ABC7EDD76}" dt="2023-11-20T20:46:44.449" v="7108" actId="20577"/>
          <ac:spMkLst>
            <pc:docMk/>
            <pc:sldMk cId="2648580776" sldId="3013"/>
            <ac:spMk id="73" creationId="{96869582-FC52-1CB0-9FD1-06B1210DD84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4" creationId="{4DB665B8-8253-6FE3-3527-D31135A5FFD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75" creationId="{C6B6693C-82D2-3F8A-8CD9-444E9F586D0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3" creationId="{C9910837-A008-C407-35B3-2C4CCEDCE02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5" creationId="{6807FD81-3F96-B8A9-325B-7137A281B42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6" creationId="{6B0803D5-5B54-92C0-DE3E-B6C6E907041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7" creationId="{4C3CB5F5-EDAD-05B1-CC3E-DE39CEE509C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8" creationId="{DF4009C0-C072-288F-8E92-CCF23080435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89" creationId="{8BC1D72F-0455-8324-2C3F-506AED24DFF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0" creationId="{CC3F4F07-D491-91E9-EABA-3488A3FE7C1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3" creationId="{6C899B4F-16FA-B452-B2E1-4E2C4DE47EC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4" creationId="{687F6ADF-BF04-500A-A461-8FB7534B063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6" creationId="{8808A626-1821-E1BF-74EC-AAFED9E716C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7" creationId="{37D30222-0915-3491-A313-78C98CC3295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8" creationId="{FF6EFC30-C076-6C8A-CCDB-D003B26B360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99" creationId="{42F5E072-30CD-EB4C-1B5B-AD1ED232AA2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0" creationId="{E0379781-BC4B-A571-65B9-D43961B76A9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1" creationId="{EDB57852-5738-FD97-B817-4041A660CB6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2" creationId="{83D46A44-B0DB-53A7-63E6-95030545362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3" creationId="{018784B8-A199-30D5-02D5-93E8C694672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4" creationId="{AF0DAA1F-F3BB-9542-C878-F3A93A307D3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5" creationId="{CD60C01C-43AA-086E-600D-90FC99510E3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6" creationId="{3DB17DCF-99B4-4B2B-B1E5-8483CA5319A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7" creationId="{A28CA095-CD84-8CBD-21CD-84511EFF521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8" creationId="{9B35040B-E657-5216-E44D-9D97A3493D7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09" creationId="{2F69FFCA-B567-67CE-A693-755A4BEC098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0" creationId="{DF612EF1-0E80-8B7F-8D96-AEA8189E059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1" creationId="{9B5F3542-9675-946D-BAFD-8D31FA05A6F6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2" creationId="{65A47FC6-10CF-4BB9-6C30-4BAFD95C0CF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3" creationId="{8CD8FDD2-5B7F-F894-2687-3A4EE49087E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4" creationId="{8FA6DF32-D4E6-10D5-BA06-F6E60E1523E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5" creationId="{216CE892-8819-A7B3-3C15-0160E9511FCD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6" creationId="{45C15733-006B-5EBE-18E7-C25ACCC2A55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7" creationId="{040C752E-C283-4245-4E10-225ADD45498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8" creationId="{6D719E3D-4594-F290-164A-E0E67B0BDD6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19" creationId="{001E407A-9BFE-3551-480E-808CDD912D5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0" creationId="{D0C1C321-67D8-0ABF-ABBA-3AB527B431A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1" creationId="{7E327A91-0C5E-BE8B-6672-961C20ADCF3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2" creationId="{24FE4F71-20E4-37D7-5112-E9895F4FD38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3" creationId="{2E52EC8F-42C2-108D-B3EC-CF2E5895BCC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4" creationId="{34A540D6-3455-F0F9-9C99-FB749B79D95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5" creationId="{4504F30F-F45A-F1BE-DB49-543FA06B013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6" creationId="{D7D6D916-3FB6-C5F2-23C9-83C2E308D8A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7" creationId="{2E028173-8662-5272-7909-AA99558F7DD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8" creationId="{6C0A2DDC-831F-75AB-6FC8-90AB6E1703A0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29" creationId="{3416501A-3DD6-9789-DE94-1F18C0FEE23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0" creationId="{313C509B-1465-1321-0B00-7C073B8234A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1" creationId="{7A3D77AC-9D2D-0B2C-0D82-7E9BABA8978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2" creationId="{1D4B6AF7-6DB4-E65B-8987-D3576B6ADFF3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3" creationId="{B73040A8-A3C7-E94F-05F4-5DC3419F36C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4" creationId="{29BB0E54-7047-2479-CA81-A768D2D31A0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5" creationId="{F8AFC226-35B1-6832-6526-F7EC936D8D01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6" creationId="{A2CAEC86-D254-70CD-D7F3-0738BF5645B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7" creationId="{5506D554-F724-6754-F9A2-5FDCD8BCFC0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8" creationId="{82B08DF8-1B08-C2BD-B763-7ECD3B37B3C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39" creationId="{C2E64350-4414-5D0A-532C-C23AA35EFD2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0" creationId="{B99975CB-A1CB-4D60-D71A-573EF741E2E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1" creationId="{E4E97FAB-4FEF-A328-093F-FE5CB578961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2" creationId="{00355F4A-0605-E0D9-5A96-C268A5C2966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3" creationId="{A2B74316-F053-19F8-77C8-EAE1282E1BD7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4" creationId="{F2EA56C9-8521-4714-1F3D-B9A25E3A80B5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5" creationId="{1E220524-E27F-9E0B-81A2-EED442A20DC8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6" creationId="{59DB6F1E-2793-1B2E-617B-DABB9106D2B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7" creationId="{C0DB9B36-0DD5-C18F-744B-8263463041F2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8" creationId="{67556690-54A6-D8FF-8B71-AC6983F5BFE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49" creationId="{D27264C3-291B-D61D-F64E-841FFAB9378B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0" creationId="{D4C06C76-A61A-8B7D-9C78-EEA7EFB9234A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1" creationId="{8368435B-CB88-F4EE-C476-05A5D05E9AC4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2" creationId="{BA3F1EC2-70AB-516D-7513-FCF9CD4B45A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3" creationId="{8786A635-EFB2-2A9D-4870-86F4EF00F81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4" creationId="{BCEA80A2-1B7D-FF60-B545-610C5F718DBE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5" creationId="{AC4DCCC2-6B5F-7428-B86A-BB56C6395538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6" creationId="{F495063E-4F4B-145F-08C9-E67BEC55D319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7" creationId="{6BA13B96-271D-6F46-FC62-5674C32082A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8" creationId="{EC13B4B1-B99D-EAFE-EEF0-24730A1682BC}"/>
          </ac:spMkLst>
        </pc:spChg>
        <pc:spChg chg="del">
          <ac:chgData name="Otavio Augusto Sabia Gava" userId="68ac195b-011b-467c-86d4-321df89323d0" providerId="ADAL" clId="{0C687AD9-2800-41E2-AA69-D02ABC7EDD76}" dt="2023-11-17T15:15:23.265" v="2531" actId="478"/>
          <ac:spMkLst>
            <pc:docMk/>
            <pc:sldMk cId="2648580776" sldId="3013"/>
            <ac:spMk id="159" creationId="{3ACF9565-ED82-6734-349B-A4384BAF0BEE}"/>
          </ac:spMkLst>
        </pc:spChg>
        <pc:grpChg chg="del">
          <ac:chgData name="Otavio Augusto Sabia Gava" userId="68ac195b-011b-467c-86d4-321df89323d0" providerId="ADAL" clId="{0C687AD9-2800-41E2-AA69-D02ABC7EDD76}" dt="2023-11-17T15:15:23.265" v="2531" actId="478"/>
          <ac:grpSpMkLst>
            <pc:docMk/>
            <pc:sldMk cId="2648580776" sldId="3013"/>
            <ac:grpSpMk id="160" creationId="{9E1596DE-6124-49C2-65D5-ABCFCAF45897}"/>
          </ac:grpSpMkLst>
        </pc:grpChg>
        <pc:graphicFrameChg chg="add del mod modGraphic">
          <ac:chgData name="Otavio Augusto Sabia Gava" userId="68ac195b-011b-467c-86d4-321df89323d0" providerId="ADAL" clId="{0C687AD9-2800-41E2-AA69-D02ABC7EDD76}" dt="2023-11-18T14:25:08.584" v="2678" actId="478"/>
          <ac:graphicFrameMkLst>
            <pc:docMk/>
            <pc:sldMk cId="2648580776" sldId="3013"/>
            <ac:graphicFrameMk id="2" creationId="{73DA7FAB-A533-FC85-4C6D-6BEE919789D1}"/>
          </ac:graphicFrameMkLst>
        </pc:graphicFrameChg>
        <pc:graphicFrameChg chg="add del modGraphic">
          <ac:chgData name="Otavio Augusto Sabia Gava" userId="68ac195b-011b-467c-86d4-321df89323d0" providerId="ADAL" clId="{0C687AD9-2800-41E2-AA69-D02ABC7EDD76}" dt="2023-11-18T21:49:37.129" v="2769" actId="1032"/>
          <ac:graphicFrameMkLst>
            <pc:docMk/>
            <pc:sldMk cId="2648580776" sldId="3013"/>
            <ac:graphicFrameMk id="39" creationId="{7206247F-982B-8781-A780-4DE8FE2DA90B}"/>
          </ac:graphicFrameMkLst>
        </pc:graphicFrameChg>
        <pc:graphicFrameChg chg="add del mod modGraphic">
          <ac:chgData name="Otavio Augusto Sabia Gava" userId="68ac195b-011b-467c-86d4-321df89323d0" providerId="ADAL" clId="{0C687AD9-2800-41E2-AA69-D02ABC7EDD76}" dt="2023-11-18T21:51:27.330" v="2776" actId="478"/>
          <ac:graphicFrameMkLst>
            <pc:docMk/>
            <pc:sldMk cId="2648580776" sldId="3013"/>
            <ac:graphicFrameMk id="40" creationId="{4DA7DD84-53DC-1A62-0BB4-AC0579935D2F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7T18:34:25.844" v="19178"/>
          <ac:picMkLst>
            <pc:docMk/>
            <pc:sldMk cId="2648580776" sldId="3013"/>
            <ac:picMk id="2" creationId="{AAB99338-0EF1-CF68-912F-0568E2BC2110}"/>
          </ac:picMkLst>
        </pc:picChg>
        <pc:picChg chg="add del">
          <ac:chgData name="Otavio Augusto Sabia Gava" userId="68ac195b-011b-467c-86d4-321df89323d0" providerId="ADAL" clId="{0C687AD9-2800-41E2-AA69-D02ABC7EDD76}" dt="2023-11-20T02:39:48.456" v="2953" actId="22"/>
          <ac:picMkLst>
            <pc:docMk/>
            <pc:sldMk cId="2648580776" sldId="3013"/>
            <ac:picMk id="4" creationId="{67F775B7-3AE3-4BA1-595D-BC356CEF3409}"/>
          </ac:picMkLst>
        </pc:picChg>
        <pc:picChg chg="add mod">
          <ac:chgData name="Otavio Augusto Sabia Gava" userId="68ac195b-011b-467c-86d4-321df89323d0" providerId="ADAL" clId="{0C687AD9-2800-41E2-AA69-D02ABC7EDD76}" dt="2023-11-20T02:59:26.917" v="3483" actId="1038"/>
          <ac:picMkLst>
            <pc:docMk/>
            <pc:sldMk cId="2648580776" sldId="3013"/>
            <ac:picMk id="7" creationId="{7E9BD9C3-7A21-521C-A087-9808E75CE8ED}"/>
          </ac:picMkLst>
        </pc:picChg>
        <pc:picChg chg="add mod">
          <ac:chgData name="Otavio Augusto Sabia Gava" userId="68ac195b-011b-467c-86d4-321df89323d0" providerId="ADAL" clId="{0C687AD9-2800-41E2-AA69-D02ABC7EDD76}" dt="2023-11-20T12:59:24.796" v="3774" actId="1076"/>
          <ac:picMkLst>
            <pc:docMk/>
            <pc:sldMk cId="2648580776" sldId="3013"/>
            <ac:picMk id="9" creationId="{19AC255F-403F-33E6-FBD0-A41D49AD068D}"/>
          </ac:picMkLst>
        </pc:picChg>
        <pc:picChg chg="add del mod">
          <ac:chgData name="Otavio Augusto Sabia Gava" userId="68ac195b-011b-467c-86d4-321df89323d0" providerId="ADAL" clId="{0C687AD9-2800-41E2-AA69-D02ABC7EDD76}" dt="2023-11-20T02:43:59.057" v="2994" actId="478"/>
          <ac:picMkLst>
            <pc:docMk/>
            <pc:sldMk cId="2648580776" sldId="3013"/>
            <ac:picMk id="11" creationId="{FA753247-FB77-9191-3FAC-24EEA5ECE02E}"/>
          </ac:picMkLst>
        </pc:picChg>
        <pc:picChg chg="add mod">
          <ac:chgData name="Otavio Augusto Sabia Gava" userId="68ac195b-011b-467c-86d4-321df89323d0" providerId="ADAL" clId="{0C687AD9-2800-41E2-AA69-D02ABC7EDD76}" dt="2023-11-20T02:48:18.314" v="3058" actId="1076"/>
          <ac:picMkLst>
            <pc:docMk/>
            <pc:sldMk cId="2648580776" sldId="3013"/>
            <ac:picMk id="13" creationId="{31837182-35FD-BD06-5DA3-400597567CF6}"/>
          </ac:picMkLst>
        </pc:picChg>
        <pc:picChg chg="add del mod">
          <ac:chgData name="Otavio Augusto Sabia Gava" userId="68ac195b-011b-467c-86d4-321df89323d0" providerId="ADAL" clId="{0C687AD9-2800-41E2-AA69-D02ABC7EDD76}" dt="2023-11-18T21:47:12.440" v="2723" actId="478"/>
          <ac:picMkLst>
            <pc:docMk/>
            <pc:sldMk cId="2648580776" sldId="3013"/>
            <ac:picMk id="13" creationId="{D453432B-FA31-155A-DA02-8FB984B2E118}"/>
          </ac:picMkLst>
        </pc:picChg>
        <pc:picChg chg="add del mod">
          <ac:chgData name="Otavio Augusto Sabia Gava" userId="68ac195b-011b-467c-86d4-321df89323d0" providerId="ADAL" clId="{0C687AD9-2800-41E2-AA69-D02ABC7EDD76}" dt="2023-11-18T21:46:36.590" v="2709" actId="478"/>
          <ac:picMkLst>
            <pc:docMk/>
            <pc:sldMk cId="2648580776" sldId="3013"/>
            <ac:picMk id="14" creationId="{59C10DAC-8BB3-1428-3C5B-C63B53766C73}"/>
          </ac:picMkLst>
        </pc:picChg>
        <pc:picChg chg="add del mod">
          <ac:chgData name="Otavio Augusto Sabia Gava" userId="68ac195b-011b-467c-86d4-321df89323d0" providerId="ADAL" clId="{0C687AD9-2800-41E2-AA69-D02ABC7EDD76}" dt="2023-11-18T21:46:36.590" v="2709" actId="478"/>
          <ac:picMkLst>
            <pc:docMk/>
            <pc:sldMk cId="2648580776" sldId="3013"/>
            <ac:picMk id="15" creationId="{A77B9749-AA41-5C94-33A9-480F5E571A4A}"/>
          </ac:picMkLst>
        </pc:picChg>
        <pc:picChg chg="add del mod">
          <ac:chgData name="Otavio Augusto Sabia Gava" userId="68ac195b-011b-467c-86d4-321df89323d0" providerId="ADAL" clId="{0C687AD9-2800-41E2-AA69-D02ABC7EDD76}" dt="2023-11-18T21:47:05.061" v="2719"/>
          <ac:picMkLst>
            <pc:docMk/>
            <pc:sldMk cId="2648580776" sldId="3013"/>
            <ac:picMk id="19" creationId="{D570656C-AB7F-67F6-A6BA-284F7E1BC876}"/>
          </ac:picMkLst>
        </pc:picChg>
        <pc:picChg chg="add del mod">
          <ac:chgData name="Otavio Augusto Sabia Gava" userId="68ac195b-011b-467c-86d4-321df89323d0" providerId="ADAL" clId="{0C687AD9-2800-41E2-AA69-D02ABC7EDD76}" dt="2023-11-20T02:48:35.365" v="3065" actId="478"/>
          <ac:picMkLst>
            <pc:docMk/>
            <pc:sldMk cId="2648580776" sldId="3013"/>
            <ac:picMk id="22" creationId="{66DA65B1-4913-C28F-5C99-7975DB99156D}"/>
          </ac:picMkLst>
        </pc:picChg>
        <pc:picChg chg="add del mod">
          <ac:chgData name="Otavio Augusto Sabia Gava" userId="68ac195b-011b-467c-86d4-321df89323d0" providerId="ADAL" clId="{0C687AD9-2800-41E2-AA69-D02ABC7EDD76}" dt="2023-11-20T02:48:35.365" v="3065" actId="478"/>
          <ac:picMkLst>
            <pc:docMk/>
            <pc:sldMk cId="2648580776" sldId="3013"/>
            <ac:picMk id="23" creationId="{3BB64C34-57DB-B725-7E88-D42272B55D34}"/>
          </ac:picMkLst>
        </pc:picChg>
        <pc:picChg chg="add del mod">
          <ac:chgData name="Otavio Augusto Sabia Gava" userId="68ac195b-011b-467c-86d4-321df89323d0" providerId="ADAL" clId="{0C687AD9-2800-41E2-AA69-D02ABC7EDD76}" dt="2023-11-18T21:47:04.267" v="2717"/>
          <ac:picMkLst>
            <pc:docMk/>
            <pc:sldMk cId="2648580776" sldId="3013"/>
            <ac:picMk id="23" creationId="{4C938FCE-5C5F-E16A-D019-23C33CC69AF0}"/>
          </ac:picMkLst>
        </pc:picChg>
        <pc:picChg chg="add del mod">
          <ac:chgData name="Otavio Augusto Sabia Gava" userId="68ac195b-011b-467c-86d4-321df89323d0" providerId="ADAL" clId="{0C687AD9-2800-41E2-AA69-D02ABC7EDD76}" dt="2023-11-20T02:48:35.365" v="3065" actId="478"/>
          <ac:picMkLst>
            <pc:docMk/>
            <pc:sldMk cId="2648580776" sldId="3013"/>
            <ac:picMk id="24" creationId="{1060CB5E-223A-728C-E8ED-D413E21DF30A}"/>
          </ac:picMkLst>
        </pc:picChg>
        <pc:picChg chg="add del mod">
          <ac:chgData name="Otavio Augusto Sabia Gava" userId="68ac195b-011b-467c-86d4-321df89323d0" providerId="ADAL" clId="{0C687AD9-2800-41E2-AA69-D02ABC7EDD76}" dt="2023-11-20T02:50:26.119" v="3071" actId="478"/>
          <ac:picMkLst>
            <pc:docMk/>
            <pc:sldMk cId="2648580776" sldId="3013"/>
            <ac:picMk id="33" creationId="{C3ACF81F-2ADE-77F7-5AAB-6DA56099AF40}"/>
          </ac:picMkLst>
        </pc:picChg>
        <pc:picChg chg="add del mod">
          <ac:chgData name="Otavio Augusto Sabia Gava" userId="68ac195b-011b-467c-86d4-321df89323d0" providerId="ADAL" clId="{0C687AD9-2800-41E2-AA69-D02ABC7EDD76}" dt="2023-11-20T02:50:26.119" v="3071" actId="478"/>
          <ac:picMkLst>
            <pc:docMk/>
            <pc:sldMk cId="2648580776" sldId="3013"/>
            <ac:picMk id="34" creationId="{4AE44328-1FD5-5905-1900-AB807E056FF3}"/>
          </ac:picMkLst>
        </pc:picChg>
        <pc:picChg chg="add del mod">
          <ac:chgData name="Otavio Augusto Sabia Gava" userId="68ac195b-011b-467c-86d4-321df89323d0" providerId="ADAL" clId="{0C687AD9-2800-41E2-AA69-D02ABC7EDD76}" dt="2023-11-20T02:50:26.119" v="3071" actId="478"/>
          <ac:picMkLst>
            <pc:docMk/>
            <pc:sldMk cId="2648580776" sldId="3013"/>
            <ac:picMk id="35" creationId="{451DBDDF-B826-ADDC-6E80-2FA0C383BB8F}"/>
          </ac:picMkLst>
        </pc:picChg>
        <pc:picChg chg="add del mod">
          <ac:chgData name="Otavio Augusto Sabia Gava" userId="68ac195b-011b-467c-86d4-321df89323d0" providerId="ADAL" clId="{0C687AD9-2800-41E2-AA69-D02ABC7EDD76}" dt="2023-11-18T21:51:35.039" v="2778"/>
          <ac:picMkLst>
            <pc:docMk/>
            <pc:sldMk cId="2648580776" sldId="3013"/>
            <ac:picMk id="41" creationId="{306C8E73-8012-93AA-098A-F8B622FC25AB}"/>
          </ac:picMkLst>
        </pc:picChg>
        <pc:picChg chg="add del mod">
          <ac:chgData name="Otavio Augusto Sabia Gava" userId="68ac195b-011b-467c-86d4-321df89323d0" providerId="ADAL" clId="{0C687AD9-2800-41E2-AA69-D02ABC7EDD76}" dt="2023-11-18T21:51:35.039" v="2778"/>
          <ac:picMkLst>
            <pc:docMk/>
            <pc:sldMk cId="2648580776" sldId="3013"/>
            <ac:picMk id="42" creationId="{3E7A9444-DB3F-B6BD-EB40-5B1B1C093376}"/>
          </ac:picMkLst>
        </pc:picChg>
        <pc:picChg chg="add del mod">
          <ac:chgData name="Otavio Augusto Sabia Gava" userId="68ac195b-011b-467c-86d4-321df89323d0" providerId="ADAL" clId="{0C687AD9-2800-41E2-AA69-D02ABC7EDD76}" dt="2023-11-18T21:51:35.039" v="2778"/>
          <ac:picMkLst>
            <pc:docMk/>
            <pc:sldMk cId="2648580776" sldId="3013"/>
            <ac:picMk id="43" creationId="{89807950-4464-2EE2-3306-0813B7D872FC}"/>
          </ac:picMkLst>
        </pc:picChg>
        <pc:picChg chg="add mod">
          <ac:chgData name="Otavio Augusto Sabia Gava" userId="68ac195b-011b-467c-86d4-321df89323d0" providerId="ADAL" clId="{0C687AD9-2800-41E2-AA69-D02ABC7EDD76}" dt="2023-11-20T03:03:32.580" v="3507" actId="1076"/>
          <ac:picMkLst>
            <pc:docMk/>
            <pc:sldMk cId="2648580776" sldId="3013"/>
            <ac:picMk id="51" creationId="{D8154E09-752E-4E9B-9CE8-9010F37DF55A}"/>
          </ac:picMkLst>
        </pc:picChg>
        <pc:picChg chg="add mod">
          <ac:chgData name="Otavio Augusto Sabia Gava" userId="68ac195b-011b-467c-86d4-321df89323d0" providerId="ADAL" clId="{0C687AD9-2800-41E2-AA69-D02ABC7EDD76}" dt="2023-11-20T12:59:31.222" v="3775" actId="1076"/>
          <ac:picMkLst>
            <pc:docMk/>
            <pc:sldMk cId="2648580776" sldId="3013"/>
            <ac:picMk id="52" creationId="{B6773EC1-C8BC-9569-BF88-42C97640DF28}"/>
          </ac:picMkLst>
        </pc:picChg>
        <pc:picChg chg="add del mod">
          <ac:chgData name="Otavio Augusto Sabia Gava" userId="68ac195b-011b-467c-86d4-321df89323d0" providerId="ADAL" clId="{0C687AD9-2800-41E2-AA69-D02ABC7EDD76}" dt="2023-11-20T01:01:09.692" v="2783" actId="478"/>
          <ac:picMkLst>
            <pc:docMk/>
            <pc:sldMk cId="2648580776" sldId="3013"/>
            <ac:picMk id="53" creationId="{842EA5E3-83FA-149A-8351-6EDA467A1A05}"/>
          </ac:picMkLst>
        </pc:picChg>
        <pc:picChg chg="add mod">
          <ac:chgData name="Otavio Augusto Sabia Gava" userId="68ac195b-011b-467c-86d4-321df89323d0" providerId="ADAL" clId="{0C687AD9-2800-41E2-AA69-D02ABC7EDD76}" dt="2023-11-20T03:03:32.580" v="3507" actId="1076"/>
          <ac:picMkLst>
            <pc:docMk/>
            <pc:sldMk cId="2648580776" sldId="3013"/>
            <ac:picMk id="53" creationId="{CF659367-3CB1-2B3F-0BEB-FBE252A7AF81}"/>
          </ac:picMkLst>
        </pc:picChg>
        <pc:picChg chg="add del mod">
          <ac:chgData name="Otavio Augusto Sabia Gava" userId="68ac195b-011b-467c-86d4-321df89323d0" providerId="ADAL" clId="{0C687AD9-2800-41E2-AA69-D02ABC7EDD76}" dt="2023-11-20T01:01:11.201" v="2784" actId="478"/>
          <ac:picMkLst>
            <pc:docMk/>
            <pc:sldMk cId="2648580776" sldId="3013"/>
            <ac:picMk id="54" creationId="{2372CA56-BBB8-8DF4-30BE-CC27AC470F5B}"/>
          </ac:picMkLst>
        </pc:picChg>
        <pc:picChg chg="add del mod">
          <ac:chgData name="Otavio Augusto Sabia Gava" userId="68ac195b-011b-467c-86d4-321df89323d0" providerId="ADAL" clId="{0C687AD9-2800-41E2-AA69-D02ABC7EDD76}" dt="2023-11-20T18:42:10.734" v="6002" actId="478"/>
          <ac:picMkLst>
            <pc:docMk/>
            <pc:sldMk cId="2648580776" sldId="3013"/>
            <ac:picMk id="54" creationId="{DBF2EA09-0BBE-EFA5-1446-0622E6E69237}"/>
          </ac:picMkLst>
        </pc:picChg>
        <pc:picChg chg="add del mod">
          <ac:chgData name="Otavio Augusto Sabia Gava" userId="68ac195b-011b-467c-86d4-321df89323d0" providerId="ADAL" clId="{0C687AD9-2800-41E2-AA69-D02ABC7EDD76}" dt="2023-11-20T01:01:15.435" v="2788" actId="478"/>
          <ac:picMkLst>
            <pc:docMk/>
            <pc:sldMk cId="2648580776" sldId="3013"/>
            <ac:picMk id="55" creationId="{A2DA7343-BCA3-B125-2A64-1B5B5998215B}"/>
          </ac:picMkLst>
        </pc:picChg>
        <pc:picChg chg="add mod">
          <ac:chgData name="Otavio Augusto Sabia Gava" userId="68ac195b-011b-467c-86d4-321df89323d0" providerId="ADAL" clId="{0C687AD9-2800-41E2-AA69-D02ABC7EDD76}" dt="2023-11-20T13:08:07.244" v="4073"/>
          <ac:picMkLst>
            <pc:docMk/>
            <pc:sldMk cId="2648580776" sldId="3013"/>
            <ac:picMk id="74" creationId="{538664B7-7751-52BE-2150-33FC191131F3}"/>
          </ac:picMkLst>
        </pc:picChg>
        <pc:picChg chg="add del mod">
          <ac:chgData name="Otavio Augusto Sabia Gava" userId="68ac195b-011b-467c-86d4-321df89323d0" providerId="ADAL" clId="{0C687AD9-2800-41E2-AA69-D02ABC7EDD76}" dt="2023-11-21T11:52:33.337" v="13526" actId="478"/>
          <ac:picMkLst>
            <pc:docMk/>
            <pc:sldMk cId="2648580776" sldId="3013"/>
            <ac:picMk id="75" creationId="{3B35F98C-09B0-435D-E0C6-F2C35C5113ED}"/>
          </ac:picMkLst>
        </pc:picChg>
        <pc:picChg chg="add del mod">
          <ac:chgData name="Otavio Augusto Sabia Gava" userId="68ac195b-011b-467c-86d4-321df89323d0" providerId="ADAL" clId="{0C687AD9-2800-41E2-AA69-D02ABC7EDD76}" dt="2023-11-21T02:10:50.383" v="10158" actId="478"/>
          <ac:picMkLst>
            <pc:docMk/>
            <pc:sldMk cId="2648580776" sldId="3013"/>
            <ac:picMk id="1028" creationId="{4936FAEA-6F65-58BD-3406-787FFFADC025}"/>
          </ac:picMkLst>
        </pc:picChg>
        <pc:picChg chg="add mod">
          <ac:chgData name="Otavio Augusto Sabia Gava" userId="68ac195b-011b-467c-86d4-321df89323d0" providerId="ADAL" clId="{0C687AD9-2800-41E2-AA69-D02ABC7EDD76}" dt="2023-11-20T18:42:32.299" v="6014" actId="1076"/>
          <ac:picMkLst>
            <pc:docMk/>
            <pc:sldMk cId="2648580776" sldId="3013"/>
            <ac:picMk id="1030" creationId="{79404F51-3DC3-AEEF-0491-0DDCCB774F8F}"/>
          </ac:picMkLst>
        </pc:picChg>
        <pc:cxnChg chg="add mod">
          <ac:chgData name="Otavio Augusto Sabia Gava" userId="68ac195b-011b-467c-86d4-321df89323d0" providerId="ADAL" clId="{0C687AD9-2800-41E2-AA69-D02ABC7EDD76}" dt="2023-11-20T01:02:45.111" v="2861" actId="208"/>
          <ac:cxnSpMkLst>
            <pc:docMk/>
            <pc:sldMk cId="2648580776" sldId="3013"/>
            <ac:cxnSpMk id="63" creationId="{57FFC24A-4D52-01EE-4D4C-E5ABABDB9EBD}"/>
          </ac:cxnSpMkLst>
        </pc:cxnChg>
      </pc:sldChg>
      <pc:sldChg chg="modSp add del mod modShow modNotesTx">
        <pc:chgData name="Otavio Augusto Sabia Gava" userId="68ac195b-011b-467c-86d4-321df89323d0" providerId="ADAL" clId="{0C687AD9-2800-41E2-AA69-D02ABC7EDD76}" dt="2023-11-21T11:52:09.486" v="13525" actId="47"/>
        <pc:sldMkLst>
          <pc:docMk/>
          <pc:sldMk cId="3828956473" sldId="3014"/>
        </pc:sldMkLst>
        <pc:spChg chg="mod">
          <ac:chgData name="Otavio Augusto Sabia Gava" userId="68ac195b-011b-467c-86d4-321df89323d0" providerId="ADAL" clId="{0C687AD9-2800-41E2-AA69-D02ABC7EDD76}" dt="2023-11-17T15:16:51.587" v="2600" actId="20577"/>
          <ac:spMkLst>
            <pc:docMk/>
            <pc:sldMk cId="3828956473" sldId="3014"/>
            <ac:spMk id="5" creationId="{691BD817-ED31-4962-832B-1254437B69A3}"/>
          </ac:spMkLst>
        </pc:spChg>
      </pc:sldChg>
      <pc:sldChg chg="addSp delSp modSp add del mod modShow modNotesTx">
        <pc:chgData name="Otavio Augusto Sabia Gava" userId="68ac195b-011b-467c-86d4-321df89323d0" providerId="ADAL" clId="{0C687AD9-2800-41E2-AA69-D02ABC7EDD76}" dt="2023-11-29T18:36:34.480" v="28770" actId="47"/>
        <pc:sldMkLst>
          <pc:docMk/>
          <pc:sldMk cId="2325200107" sldId="3015"/>
        </pc:sldMkLst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" creationId="{2C944010-E524-6AD1-9C2D-76A08525C3A1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3" creationId="{48D5C4C5-3A8C-8AEB-B623-B39BF77DBD24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4" creationId="{1DE2B191-FCA1-7681-B7B5-B1B156631187}"/>
          </ac:spMkLst>
        </pc:spChg>
        <pc:spChg chg="mod">
          <ac:chgData name="Otavio Augusto Sabia Gava" userId="68ac195b-011b-467c-86d4-321df89323d0" providerId="ADAL" clId="{0C687AD9-2800-41E2-AA69-D02ABC7EDD76}" dt="2023-11-27T12:03:29.320" v="17141" actId="20577"/>
          <ac:spMkLst>
            <pc:docMk/>
            <pc:sldMk cId="2325200107" sldId="3015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6" creationId="{D7D706B7-92AC-5FB1-AA25-61A6EDDCFB75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7" creationId="{69D2685C-E360-BB95-5AB0-3F1019845E2F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8" creationId="{4AA3E711-93BD-1F15-C321-10756139BD80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9" creationId="{855B4E72-4ECC-1D64-38A2-8CC07973F1FE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10" creationId="{E5907803-AC8A-16C1-3AEF-5EFD7B8EC018}"/>
          </ac:spMkLst>
        </pc:spChg>
        <pc:spChg chg="add mod">
          <ac:chgData name="Otavio Augusto Sabia Gava" userId="68ac195b-011b-467c-86d4-321df89323d0" providerId="ADAL" clId="{0C687AD9-2800-41E2-AA69-D02ABC7EDD76}" dt="2023-11-20T13:09:29.883" v="4111" actId="20577"/>
          <ac:spMkLst>
            <pc:docMk/>
            <pc:sldMk cId="2325200107" sldId="3015"/>
            <ac:spMk id="16" creationId="{5054D865-64A9-5590-A391-96C8557BB5FF}"/>
          </ac:spMkLst>
        </pc:spChg>
        <pc:spChg chg="add mod">
          <ac:chgData name="Otavio Augusto Sabia Gava" userId="68ac195b-011b-467c-86d4-321df89323d0" providerId="ADAL" clId="{0C687AD9-2800-41E2-AA69-D02ABC7EDD76}" dt="2023-11-20T13:34:55.628" v="4490" actId="113"/>
          <ac:spMkLst>
            <pc:docMk/>
            <pc:sldMk cId="2325200107" sldId="3015"/>
            <ac:spMk id="17" creationId="{A3E412C1-241A-D9C6-3CD5-7F5AECA30CAE}"/>
          </ac:spMkLst>
        </pc:spChg>
        <pc:spChg chg="add mod">
          <ac:chgData name="Otavio Augusto Sabia Gava" userId="68ac195b-011b-467c-86d4-321df89323d0" providerId="ADAL" clId="{0C687AD9-2800-41E2-AA69-D02ABC7EDD76}" dt="2023-11-20T13:36:10.101" v="4689" actId="113"/>
          <ac:spMkLst>
            <pc:docMk/>
            <pc:sldMk cId="2325200107" sldId="3015"/>
            <ac:spMk id="18" creationId="{1ADA1330-071F-04C5-198C-0F7D46D802D1}"/>
          </ac:spMkLst>
        </pc:spChg>
        <pc:spChg chg="add mod">
          <ac:chgData name="Otavio Augusto Sabia Gava" userId="68ac195b-011b-467c-86d4-321df89323d0" providerId="ADAL" clId="{0C687AD9-2800-41E2-AA69-D02ABC7EDD76}" dt="2023-11-20T13:37:38.717" v="4876" actId="113"/>
          <ac:spMkLst>
            <pc:docMk/>
            <pc:sldMk cId="2325200107" sldId="3015"/>
            <ac:spMk id="19" creationId="{72C8E966-B429-3310-6172-B48B5DDB5C2E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0" creationId="{08A74076-506B-4401-1C4B-EDA5BD52E346}"/>
          </ac:spMkLst>
        </pc:spChg>
        <pc:spChg chg="add mod">
          <ac:chgData name="Otavio Augusto Sabia Gava" userId="68ac195b-011b-467c-86d4-321df89323d0" providerId="ADAL" clId="{0C687AD9-2800-41E2-AA69-D02ABC7EDD76}" dt="2023-11-28T18:18:25.663" v="19923" actId="20577"/>
          <ac:spMkLst>
            <pc:docMk/>
            <pc:sldMk cId="2325200107" sldId="3015"/>
            <ac:spMk id="21" creationId="{3731A43B-B979-1D61-F8AC-FF10B4F30A39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2" creationId="{C1934116-5EDF-34EB-CB0F-927CC358FE16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3" creationId="{24EE0AE0-D499-44ED-A54B-39DD2485E090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4" creationId="{A4EE625A-CDDE-ABF4-6381-E3FD24EEF5AE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5" creationId="{2929457D-CE9F-1D1D-D985-1B44899AA5EB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6" creationId="{EED63F6C-7907-F3EA-7660-685A461F0B94}"/>
          </ac:spMkLst>
        </pc:spChg>
        <pc:spChg chg="add mod">
          <ac:chgData name="Otavio Augusto Sabia Gava" userId="68ac195b-011b-467c-86d4-321df89323d0" providerId="ADAL" clId="{0C687AD9-2800-41E2-AA69-D02ABC7EDD76}" dt="2023-11-20T13:09:15.782" v="4075"/>
          <ac:spMkLst>
            <pc:docMk/>
            <pc:sldMk cId="2325200107" sldId="3015"/>
            <ac:spMk id="27" creationId="{19CD685E-6B98-AA15-8BB2-95488072567A}"/>
          </ac:spMkLst>
        </pc:spChg>
        <pc:spChg chg="add mod">
          <ac:chgData name="Otavio Augusto Sabia Gava" userId="68ac195b-011b-467c-86d4-321df89323d0" providerId="ADAL" clId="{0C687AD9-2800-41E2-AA69-D02ABC7EDD76}" dt="2023-11-20T13:55:56.563" v="4960" actId="20577"/>
          <ac:spMkLst>
            <pc:docMk/>
            <pc:sldMk cId="2325200107" sldId="3015"/>
            <ac:spMk id="32" creationId="{8AC3EF9D-5D22-8EF4-F021-D03C46654570}"/>
          </ac:spMkLst>
        </pc:spChg>
        <pc:spChg chg="add mod">
          <ac:chgData name="Otavio Augusto Sabia Gava" userId="68ac195b-011b-467c-86d4-321df89323d0" providerId="ADAL" clId="{0C687AD9-2800-41E2-AA69-D02ABC7EDD76}" dt="2023-11-20T14:01:40.290" v="5200" actId="113"/>
          <ac:spMkLst>
            <pc:docMk/>
            <pc:sldMk cId="2325200107" sldId="3015"/>
            <ac:spMk id="33" creationId="{84F2FCC9-34B4-4DF9-3618-E1E6CA399800}"/>
          </ac:spMkLst>
        </pc:spChg>
        <pc:spChg chg="add mod">
          <ac:chgData name="Otavio Augusto Sabia Gava" userId="68ac195b-011b-467c-86d4-321df89323d0" providerId="ADAL" clId="{0C687AD9-2800-41E2-AA69-D02ABC7EDD76}" dt="2023-11-20T14:03:11.593" v="5465" actId="113"/>
          <ac:spMkLst>
            <pc:docMk/>
            <pc:sldMk cId="2325200107" sldId="3015"/>
            <ac:spMk id="34" creationId="{888E0732-CA1D-0B6A-5A87-F5D77BD6E7C1}"/>
          </ac:spMkLst>
        </pc:spChg>
        <pc:spChg chg="add mod">
          <ac:chgData name="Otavio Augusto Sabia Gava" userId="68ac195b-011b-467c-86d4-321df89323d0" providerId="ADAL" clId="{0C687AD9-2800-41E2-AA69-D02ABC7EDD76}" dt="2023-11-20T14:04:33.466" v="5678" actId="113"/>
          <ac:spMkLst>
            <pc:docMk/>
            <pc:sldMk cId="2325200107" sldId="3015"/>
            <ac:spMk id="35" creationId="{DE2A735B-3016-B5A5-4E3D-4CF16AC331C3}"/>
          </ac:spMkLst>
        </pc:sp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12" creationId="{2EBB34FF-0EDB-6A68-9BBE-165C44D562DE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13" creationId="{A632ABCA-A291-E1B0-A3E6-F8F9B5920DD8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14" creationId="{FFFFFFE4-43F5-DAF9-04EC-B46988517A0B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15" creationId="{53D7601F-788D-E63F-A9BF-6AA9A3D28640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28" creationId="{3ED7976B-19AB-15A3-92B7-4D769FA5385F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29" creationId="{09E2EA76-F4C6-14AF-DC3F-2E703B9551E1}"/>
          </ac:picMkLst>
        </pc:picChg>
        <pc:picChg chg="add mod">
          <ac:chgData name="Otavio Augusto Sabia Gava" userId="68ac195b-011b-467c-86d4-321df89323d0" providerId="ADAL" clId="{0C687AD9-2800-41E2-AA69-D02ABC7EDD76}" dt="2023-11-20T13:09:15.782" v="4075"/>
          <ac:picMkLst>
            <pc:docMk/>
            <pc:sldMk cId="2325200107" sldId="3015"/>
            <ac:picMk id="30" creationId="{88FF31A7-9A7E-2954-288A-902C54E3371D}"/>
          </ac:picMkLst>
        </pc:picChg>
        <pc:picChg chg="add del mod">
          <ac:chgData name="Otavio Augusto Sabia Gava" userId="68ac195b-011b-467c-86d4-321df89323d0" providerId="ADAL" clId="{0C687AD9-2800-41E2-AA69-D02ABC7EDD76}" dt="2023-11-20T13:55:19.611" v="4905" actId="478"/>
          <ac:picMkLst>
            <pc:docMk/>
            <pc:sldMk cId="2325200107" sldId="3015"/>
            <ac:picMk id="31" creationId="{311573FE-5593-00D6-F60A-828F0F228D74}"/>
          </ac:picMkLst>
        </pc:picChg>
        <pc:picChg chg="add mod">
          <ac:chgData name="Otavio Augusto Sabia Gava" userId="68ac195b-011b-467c-86d4-321df89323d0" providerId="ADAL" clId="{0C687AD9-2800-41E2-AA69-D02ABC7EDD76}" dt="2023-11-20T13:41:05.931" v="4904"/>
          <ac:picMkLst>
            <pc:docMk/>
            <pc:sldMk cId="2325200107" sldId="3015"/>
            <ac:picMk id="36" creationId="{A4C3C829-9152-AEC0-6B21-572A37CC04B4}"/>
          </ac:picMkLst>
        </pc:picChg>
        <pc:picChg chg="add mod">
          <ac:chgData name="Otavio Augusto Sabia Gava" userId="68ac195b-011b-467c-86d4-321df89323d0" providerId="ADAL" clId="{0C687AD9-2800-41E2-AA69-D02ABC7EDD76}" dt="2023-11-20T14:18:00.922" v="5872"/>
          <ac:picMkLst>
            <pc:docMk/>
            <pc:sldMk cId="2325200107" sldId="3015"/>
            <ac:picMk id="37" creationId="{95402AD2-37E2-3CCC-2B9A-65ADB5BA3229}"/>
          </ac:picMkLst>
        </pc:picChg>
        <pc:picChg chg="add mod">
          <ac:chgData name="Otavio Augusto Sabia Gava" userId="68ac195b-011b-467c-86d4-321df89323d0" providerId="ADAL" clId="{0C687AD9-2800-41E2-AA69-D02ABC7EDD76}" dt="2023-11-20T13:55:35.947" v="4917" actId="1038"/>
          <ac:picMkLst>
            <pc:docMk/>
            <pc:sldMk cId="2325200107" sldId="3015"/>
            <ac:picMk id="14338" creationId="{F2B32A13-5B9A-BA87-7C86-A457ED5C77EB}"/>
          </ac:picMkLst>
        </pc:picChg>
        <pc:cxnChg chg="add mod">
          <ac:chgData name="Otavio Augusto Sabia Gava" userId="68ac195b-011b-467c-86d4-321df89323d0" providerId="ADAL" clId="{0C687AD9-2800-41E2-AA69-D02ABC7EDD76}" dt="2023-11-20T13:09:15.782" v="4075"/>
          <ac:cxnSpMkLst>
            <pc:docMk/>
            <pc:sldMk cId="2325200107" sldId="3015"/>
            <ac:cxnSpMk id="11" creationId="{ABC7CB67-1D91-072B-6090-54AB158BECD3}"/>
          </ac:cxnSpMkLst>
        </pc:cxnChg>
      </pc:sldChg>
      <pc:sldChg chg="addSp delSp modSp add del mod modShow modNotesTx">
        <pc:chgData name="Otavio Augusto Sabia Gava" userId="68ac195b-011b-467c-86d4-321df89323d0" providerId="ADAL" clId="{0C687AD9-2800-41E2-AA69-D02ABC7EDD76}" dt="2023-11-29T18:36:38.434" v="28773" actId="47"/>
        <pc:sldMkLst>
          <pc:docMk/>
          <pc:sldMk cId="4251344644" sldId="3016"/>
        </pc:sldMkLst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" creationId="{BC5EDBDA-CC43-7906-FA44-160F9735C70D}"/>
          </ac:spMkLst>
        </pc:spChg>
        <pc:spChg chg="add mod">
          <ac:chgData name="Otavio Augusto Sabia Gava" userId="68ac195b-011b-467c-86d4-321df89323d0" providerId="ADAL" clId="{0C687AD9-2800-41E2-AA69-D02ABC7EDD76}" dt="2023-11-28T18:20:34.516" v="19936" actId="20577"/>
          <ac:spMkLst>
            <pc:docMk/>
            <pc:sldMk cId="4251344644" sldId="3016"/>
            <ac:spMk id="3" creationId="{09621758-40B2-5872-2D12-32D474FD9B0A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4" creationId="{DCC91118-E668-738F-8516-CFB2901A18D5}"/>
          </ac:spMkLst>
        </pc:spChg>
        <pc:spChg chg="mod">
          <ac:chgData name="Otavio Augusto Sabia Gava" userId="68ac195b-011b-467c-86d4-321df89323d0" providerId="ADAL" clId="{0C687AD9-2800-41E2-AA69-D02ABC7EDD76}" dt="2023-11-17T15:17:20.102" v="2633" actId="20577"/>
          <ac:spMkLst>
            <pc:docMk/>
            <pc:sldMk cId="4251344644" sldId="3016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6" creationId="{5B8EC5C0-35B4-2AE0-C119-0DF77FABA614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7" creationId="{EE786065-444F-5002-A244-1A3C1B5BF257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8" creationId="{60445D28-5D0F-DD8D-2A87-84F940F6FD7A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9" creationId="{9E9C1472-77A4-F550-157B-5862259D98ED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10" creationId="{D48C0BBB-8535-7783-F5F3-06686D99EB1C}"/>
          </ac:spMkLst>
        </pc:spChg>
        <pc:spChg chg="add mod">
          <ac:chgData name="Otavio Augusto Sabia Gava" userId="68ac195b-011b-467c-86d4-321df89323d0" providerId="ADAL" clId="{0C687AD9-2800-41E2-AA69-D02ABC7EDD76}" dt="2023-11-20T23:40:31.756" v="8177" actId="20577"/>
          <ac:spMkLst>
            <pc:docMk/>
            <pc:sldMk cId="4251344644" sldId="3016"/>
            <ac:spMk id="15" creationId="{B4B47E49-35D4-12C1-23DE-B5160C220DED}"/>
          </ac:spMkLst>
        </pc:spChg>
        <pc:spChg chg="add mod">
          <ac:chgData name="Otavio Augusto Sabia Gava" userId="68ac195b-011b-467c-86d4-321df89323d0" providerId="ADAL" clId="{0C687AD9-2800-41E2-AA69-D02ABC7EDD76}" dt="2023-11-21T00:12:36.933" v="9313" actId="113"/>
          <ac:spMkLst>
            <pc:docMk/>
            <pc:sldMk cId="4251344644" sldId="3016"/>
            <ac:spMk id="16" creationId="{A47FDBE9-AFAB-72D3-3E41-FA1D706844C5}"/>
          </ac:spMkLst>
        </pc:spChg>
        <pc:spChg chg="add mod">
          <ac:chgData name="Otavio Augusto Sabia Gava" userId="68ac195b-011b-467c-86d4-321df89323d0" providerId="ADAL" clId="{0C687AD9-2800-41E2-AA69-D02ABC7EDD76}" dt="2023-11-20T23:58:55.185" v="8669" actId="113"/>
          <ac:spMkLst>
            <pc:docMk/>
            <pc:sldMk cId="4251344644" sldId="3016"/>
            <ac:spMk id="17" creationId="{57B3E2CE-C09F-8A08-C680-60B5016B922A}"/>
          </ac:spMkLst>
        </pc:spChg>
        <pc:spChg chg="add mod">
          <ac:chgData name="Otavio Augusto Sabia Gava" userId="68ac195b-011b-467c-86d4-321df89323d0" providerId="ADAL" clId="{0C687AD9-2800-41E2-AA69-D02ABC7EDD76}" dt="2023-11-21T00:10:43.648" v="9042"/>
          <ac:spMkLst>
            <pc:docMk/>
            <pc:sldMk cId="4251344644" sldId="3016"/>
            <ac:spMk id="18" creationId="{8FEB5945-6CE0-F922-736B-C48CBFA5F48F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19" creationId="{699EC06C-43EA-03CC-24F3-0CFD20FFB027}"/>
          </ac:spMkLst>
        </pc:spChg>
        <pc:spChg chg="add mod">
          <ac:chgData name="Otavio Augusto Sabia Gava" userId="68ac195b-011b-467c-86d4-321df89323d0" providerId="ADAL" clId="{0C687AD9-2800-41E2-AA69-D02ABC7EDD76}" dt="2023-11-28T18:20:39.532" v="19937" actId="13926"/>
          <ac:spMkLst>
            <pc:docMk/>
            <pc:sldMk cId="4251344644" sldId="3016"/>
            <ac:spMk id="20" creationId="{81481871-7C47-DBB1-6F27-DE5F2FBD8257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1" creationId="{A3270D57-2275-02EB-D521-1570ABA5BCEA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2" creationId="{2D0AC3E0-054F-C7EE-2261-ED13EE073049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3" creationId="{710735F1-5908-1695-34F9-EEE8120A9764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4" creationId="{F20244E1-ADD2-445D-2A12-2E2FAC43ADE1}"/>
          </ac:spMkLst>
        </pc:spChg>
        <pc:spChg chg="add mod">
          <ac:chgData name="Otavio Augusto Sabia Gava" userId="68ac195b-011b-467c-86d4-321df89323d0" providerId="ADAL" clId="{0C687AD9-2800-41E2-AA69-D02ABC7EDD76}" dt="2023-11-21T11:12:10.907" v="10714" actId="1036"/>
          <ac:spMkLst>
            <pc:docMk/>
            <pc:sldMk cId="4251344644" sldId="3016"/>
            <ac:spMk id="25" creationId="{706E983E-E633-71FE-1F69-F714A5F4846B}"/>
          </ac:spMkLst>
        </pc:spChg>
        <pc:spChg chg="add mod">
          <ac:chgData name="Otavio Augusto Sabia Gava" userId="68ac195b-011b-467c-86d4-321df89323d0" providerId="ADAL" clId="{0C687AD9-2800-41E2-AA69-D02ABC7EDD76}" dt="2023-11-20T21:06:03.926" v="8065"/>
          <ac:spMkLst>
            <pc:docMk/>
            <pc:sldMk cId="4251344644" sldId="3016"/>
            <ac:spMk id="26" creationId="{A604AAF4-CFB0-2892-544C-FD192FF552A1}"/>
          </ac:spMkLst>
        </pc:spChg>
        <pc:spChg chg="add mod">
          <ac:chgData name="Otavio Augusto Sabia Gava" userId="68ac195b-011b-467c-86d4-321df89323d0" providerId="ADAL" clId="{0C687AD9-2800-41E2-AA69-D02ABC7EDD76}" dt="2023-11-21T11:12:17.135" v="10729" actId="1036"/>
          <ac:spMkLst>
            <pc:docMk/>
            <pc:sldMk cId="4251344644" sldId="3016"/>
            <ac:spMk id="30" creationId="{1A9AAA49-FD53-814B-1406-EE16A3991BF6}"/>
          </ac:spMkLst>
        </pc:spChg>
        <pc:spChg chg="add mod">
          <ac:chgData name="Otavio Augusto Sabia Gava" userId="68ac195b-011b-467c-86d4-321df89323d0" providerId="ADAL" clId="{0C687AD9-2800-41E2-AA69-D02ABC7EDD76}" dt="2023-11-21T11:22:11.507" v="11229" actId="113"/>
          <ac:spMkLst>
            <pc:docMk/>
            <pc:sldMk cId="4251344644" sldId="3016"/>
            <ac:spMk id="31" creationId="{80E0185E-C710-2F61-FACE-A0D6157DAC48}"/>
          </ac:spMkLst>
        </pc:spChg>
        <pc:spChg chg="add mod">
          <ac:chgData name="Otavio Augusto Sabia Gava" userId="68ac195b-011b-467c-86d4-321df89323d0" providerId="ADAL" clId="{0C687AD9-2800-41E2-AA69-D02ABC7EDD76}" dt="2023-11-21T11:22:25.075" v="11237" actId="113"/>
          <ac:spMkLst>
            <pc:docMk/>
            <pc:sldMk cId="4251344644" sldId="3016"/>
            <ac:spMk id="32" creationId="{9B6F4571-FE77-21CB-E0D1-8AEA0BF08454}"/>
          </ac:spMkLst>
        </pc:spChg>
        <pc:spChg chg="add mod">
          <ac:chgData name="Otavio Augusto Sabia Gava" userId="68ac195b-011b-467c-86d4-321df89323d0" providerId="ADAL" clId="{0C687AD9-2800-41E2-AA69-D02ABC7EDD76}" dt="2023-11-21T11:24:26.324" v="11435" actId="113"/>
          <ac:spMkLst>
            <pc:docMk/>
            <pc:sldMk cId="4251344644" sldId="3016"/>
            <ac:spMk id="33" creationId="{00A0F80A-9369-FE4F-3702-F72C03936BC2}"/>
          </ac:spMkLst>
        </pc:sp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12" creationId="{92A53063-87FE-3896-D6C5-C11C3F75AD46}"/>
          </ac:picMkLst>
        </pc:pic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13" creationId="{9B61B62E-C90B-4676-5A26-C6B224B97EE3}"/>
          </ac:picMkLst>
        </pc:pic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14" creationId="{713B5E7A-0286-B7DC-844A-180605C45E16}"/>
          </ac:picMkLst>
        </pc:pic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27" creationId="{A3F3DB86-6ECD-151F-23EE-69E50204AA1B}"/>
          </ac:picMkLst>
        </pc:pic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28" creationId="{67726745-E073-F8B9-B3EF-860BD89F7A19}"/>
          </ac:picMkLst>
        </pc:picChg>
        <pc:picChg chg="add mod">
          <ac:chgData name="Otavio Augusto Sabia Gava" userId="68ac195b-011b-467c-86d4-321df89323d0" providerId="ADAL" clId="{0C687AD9-2800-41E2-AA69-D02ABC7EDD76}" dt="2023-11-20T21:06:03.926" v="8065"/>
          <ac:picMkLst>
            <pc:docMk/>
            <pc:sldMk cId="4251344644" sldId="3016"/>
            <ac:picMk id="29" creationId="{3C9877E1-82E9-DE5C-EE37-DBF40690EFA7}"/>
          </ac:picMkLst>
        </pc:picChg>
        <pc:picChg chg="add mod">
          <ac:chgData name="Otavio Augusto Sabia Gava" userId="68ac195b-011b-467c-86d4-321df89323d0" providerId="ADAL" clId="{0C687AD9-2800-41E2-AA69-D02ABC7EDD76}" dt="2023-11-21T00:09:05.669" v="8943"/>
          <ac:picMkLst>
            <pc:docMk/>
            <pc:sldMk cId="4251344644" sldId="3016"/>
            <ac:picMk id="34" creationId="{DD65A3BA-897F-A80D-00D9-154CA83C3182}"/>
          </ac:picMkLst>
        </pc:picChg>
        <pc:picChg chg="add mod">
          <ac:chgData name="Otavio Augusto Sabia Gava" userId="68ac195b-011b-467c-86d4-321df89323d0" providerId="ADAL" clId="{0C687AD9-2800-41E2-AA69-D02ABC7EDD76}" dt="2023-11-21T11:24:36.934" v="11436"/>
          <ac:picMkLst>
            <pc:docMk/>
            <pc:sldMk cId="4251344644" sldId="3016"/>
            <ac:picMk id="35" creationId="{6788B9D1-A267-30B6-EB15-F06A738A0189}"/>
          </ac:picMkLst>
        </pc:picChg>
        <pc:picChg chg="add del mod">
          <ac:chgData name="Otavio Augusto Sabia Gava" userId="68ac195b-011b-467c-86d4-321df89323d0" providerId="ADAL" clId="{0C687AD9-2800-41E2-AA69-D02ABC7EDD76}" dt="2023-11-20T23:39:47.785" v="8128" actId="478"/>
          <ac:picMkLst>
            <pc:docMk/>
            <pc:sldMk cId="4251344644" sldId="3016"/>
            <ac:picMk id="36" creationId="{DD21C6DF-85C9-BBBE-0A95-0220956EFEE7}"/>
          </ac:picMkLst>
        </pc:picChg>
        <pc:picChg chg="add del mod">
          <ac:chgData name="Otavio Augusto Sabia Gava" userId="68ac195b-011b-467c-86d4-321df89323d0" providerId="ADAL" clId="{0C687AD9-2800-41E2-AA69-D02ABC7EDD76}" dt="2023-11-21T11:17:58.731" v="10730" actId="478"/>
          <ac:picMkLst>
            <pc:docMk/>
            <pc:sldMk cId="4251344644" sldId="3016"/>
            <ac:picMk id="37" creationId="{EA54F95C-DF2F-B24F-BF40-0EACA9CDA7DF}"/>
          </ac:picMkLst>
        </pc:picChg>
        <pc:picChg chg="add del mod">
          <ac:chgData name="Otavio Augusto Sabia Gava" userId="68ac195b-011b-467c-86d4-321df89323d0" providerId="ADAL" clId="{0C687AD9-2800-41E2-AA69-D02ABC7EDD76}" dt="2023-11-20T23:40:15.026" v="8144" actId="1076"/>
          <ac:picMkLst>
            <pc:docMk/>
            <pc:sldMk cId="4251344644" sldId="3016"/>
            <ac:picMk id="22530" creationId="{8DE88DCC-700A-E6B7-A72D-A827A1848F92}"/>
          </ac:picMkLst>
        </pc:picChg>
        <pc:picChg chg="add mod">
          <ac:chgData name="Otavio Augusto Sabia Gava" userId="68ac195b-011b-467c-86d4-321df89323d0" providerId="ADAL" clId="{0C687AD9-2800-41E2-AA69-D02ABC7EDD76}" dt="2023-11-21T11:18:32.634" v="10734" actId="1076"/>
          <ac:picMkLst>
            <pc:docMk/>
            <pc:sldMk cId="4251344644" sldId="3016"/>
            <ac:picMk id="22532" creationId="{F5548305-0079-4165-B79C-8DE273AB6AFB}"/>
          </ac:picMkLst>
        </pc:picChg>
        <pc:cxnChg chg="add mod">
          <ac:chgData name="Otavio Augusto Sabia Gava" userId="68ac195b-011b-467c-86d4-321df89323d0" providerId="ADAL" clId="{0C687AD9-2800-41E2-AA69-D02ABC7EDD76}" dt="2023-11-20T21:06:03.926" v="8065"/>
          <ac:cxnSpMkLst>
            <pc:docMk/>
            <pc:sldMk cId="4251344644" sldId="3016"/>
            <ac:cxnSpMk id="11" creationId="{60202E8B-1248-DF2C-5538-94729B115CC3}"/>
          </ac:cxnSpMkLst>
        </pc:cxnChg>
      </pc:sldChg>
      <pc:sldChg chg="addSp delSp modSp add del mod ord">
        <pc:chgData name="Otavio Augusto Sabia Gava" userId="68ac195b-011b-467c-86d4-321df89323d0" providerId="ADAL" clId="{0C687AD9-2800-41E2-AA69-D02ABC7EDD76}" dt="2023-11-29T18:36:29.588" v="28767" actId="47"/>
        <pc:sldMkLst>
          <pc:docMk/>
          <pc:sldMk cId="1125003405" sldId="3017"/>
        </pc:sldMkLst>
        <pc:spChg chg="mod">
          <ac:chgData name="Otavio Augusto Sabia Gava" userId="68ac195b-011b-467c-86d4-321df89323d0" providerId="ADAL" clId="{0C687AD9-2800-41E2-AA69-D02ABC7EDD76}" dt="2023-11-22T17:44:43.478" v="16979" actId="13926"/>
          <ac:spMkLst>
            <pc:docMk/>
            <pc:sldMk cId="1125003405" sldId="3017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1T02:11:50.401" v="10219" actId="20577"/>
          <ac:spMkLst>
            <pc:docMk/>
            <pc:sldMk cId="1125003405" sldId="3017"/>
            <ac:spMk id="37" creationId="{72C8E118-A821-83CE-B0E6-F441703E2BC8}"/>
          </ac:spMkLst>
        </pc:spChg>
        <pc:spChg chg="mod">
          <ac:chgData name="Otavio Augusto Sabia Gava" userId="68ac195b-011b-467c-86d4-321df89323d0" providerId="ADAL" clId="{0C687AD9-2800-41E2-AA69-D02ABC7EDD76}" dt="2023-11-27T14:15:25.001" v="19057" actId="13926"/>
          <ac:spMkLst>
            <pc:docMk/>
            <pc:sldMk cId="1125003405" sldId="3017"/>
            <ac:spMk id="38" creationId="{FAB55431-9773-30D3-6CC7-B145C4A6656C}"/>
          </ac:spMkLst>
        </pc:spChg>
        <pc:spChg chg="mod">
          <ac:chgData name="Otavio Augusto Sabia Gava" userId="68ac195b-011b-467c-86d4-321df89323d0" providerId="ADAL" clId="{0C687AD9-2800-41E2-AA69-D02ABC7EDD76}" dt="2023-11-27T14:15:27.246" v="19058" actId="13926"/>
          <ac:spMkLst>
            <pc:docMk/>
            <pc:sldMk cId="1125003405" sldId="3017"/>
            <ac:spMk id="39" creationId="{D43FF608-ADB7-C07C-1BBF-5D3FA59B20E6}"/>
          </ac:spMkLst>
        </pc:spChg>
        <pc:spChg chg="mod">
          <ac:chgData name="Otavio Augusto Sabia Gava" userId="68ac195b-011b-467c-86d4-321df89323d0" providerId="ADAL" clId="{0C687AD9-2800-41E2-AA69-D02ABC7EDD76}" dt="2023-11-21T11:31:36.942" v="11613" actId="113"/>
          <ac:spMkLst>
            <pc:docMk/>
            <pc:sldMk cId="1125003405" sldId="3017"/>
            <ac:spMk id="40" creationId="{96FAA112-7E95-6315-FEA3-C06482F1D090}"/>
          </ac:spMkLst>
        </pc:spChg>
        <pc:spChg chg="mod">
          <ac:chgData name="Otavio Augusto Sabia Gava" userId="68ac195b-011b-467c-86d4-321df89323d0" providerId="ADAL" clId="{0C687AD9-2800-41E2-AA69-D02ABC7EDD76}" dt="2023-11-28T18:06:49.777" v="19861" actId="13926"/>
          <ac:spMkLst>
            <pc:docMk/>
            <pc:sldMk cId="1125003405" sldId="3017"/>
            <ac:spMk id="42" creationId="{3C7EB66B-E713-35D9-666A-904EA8D28BB6}"/>
          </ac:spMkLst>
        </pc:spChg>
        <pc:spChg chg="mod">
          <ac:chgData name="Otavio Augusto Sabia Gava" userId="68ac195b-011b-467c-86d4-321df89323d0" providerId="ADAL" clId="{0C687AD9-2800-41E2-AA69-D02ABC7EDD76}" dt="2023-11-28T18:06:46.054" v="19860" actId="13926"/>
          <ac:spMkLst>
            <pc:docMk/>
            <pc:sldMk cId="1125003405" sldId="3017"/>
            <ac:spMk id="46" creationId="{30DD34B2-205B-494E-6F71-4D7B59FCDB01}"/>
          </ac:spMkLst>
        </pc:spChg>
        <pc:spChg chg="mod">
          <ac:chgData name="Otavio Augusto Sabia Gava" userId="68ac195b-011b-467c-86d4-321df89323d0" providerId="ADAL" clId="{0C687AD9-2800-41E2-AA69-D02ABC7EDD76}" dt="2023-11-20T21:09:49.192" v="8127" actId="20577"/>
          <ac:spMkLst>
            <pc:docMk/>
            <pc:sldMk cId="1125003405" sldId="3017"/>
            <ac:spMk id="55" creationId="{FE77F5A9-9A5C-CEDC-9B48-CFBEDAB660CD}"/>
          </ac:spMkLst>
        </pc:spChg>
        <pc:spChg chg="mod">
          <ac:chgData name="Otavio Augusto Sabia Gava" userId="68ac195b-011b-467c-86d4-321df89323d0" providerId="ADAL" clId="{0C687AD9-2800-41E2-AA69-D02ABC7EDD76}" dt="2023-11-27T14:15:31.742" v="19060" actId="13926"/>
          <ac:spMkLst>
            <pc:docMk/>
            <pc:sldMk cId="1125003405" sldId="3017"/>
            <ac:spMk id="62" creationId="{2CF2DFE6-6A33-446A-5924-4D68A81BE3CE}"/>
          </ac:spMkLst>
        </pc:spChg>
        <pc:spChg chg="mod">
          <ac:chgData name="Otavio Augusto Sabia Gava" userId="68ac195b-011b-467c-86d4-321df89323d0" providerId="ADAL" clId="{0C687AD9-2800-41E2-AA69-D02ABC7EDD76}" dt="2023-11-27T14:15:29.346" v="19059" actId="13926"/>
          <ac:spMkLst>
            <pc:docMk/>
            <pc:sldMk cId="1125003405" sldId="3017"/>
            <ac:spMk id="72" creationId="{73E5245F-1FFC-F7A7-649D-E50C7E5B737F}"/>
          </ac:spMkLst>
        </pc:spChg>
        <pc:spChg chg="mod">
          <ac:chgData name="Otavio Augusto Sabia Gava" userId="68ac195b-011b-467c-86d4-321df89323d0" providerId="ADAL" clId="{0C687AD9-2800-41E2-AA69-D02ABC7EDD76}" dt="2023-11-21T11:32:52.711" v="11779" actId="113"/>
          <ac:spMkLst>
            <pc:docMk/>
            <pc:sldMk cId="1125003405" sldId="3017"/>
            <ac:spMk id="73" creationId="{96869582-FC52-1CB0-9FD1-06B1210DD84E}"/>
          </ac:spMkLst>
        </pc:spChg>
        <pc:picChg chg="del">
          <ac:chgData name="Otavio Augusto Sabia Gava" userId="68ac195b-011b-467c-86d4-321df89323d0" providerId="ADAL" clId="{0C687AD9-2800-41E2-AA69-D02ABC7EDD76}" dt="2023-11-20T21:08:28.118" v="8070" actId="478"/>
          <ac:picMkLst>
            <pc:docMk/>
            <pc:sldMk cId="1125003405" sldId="3017"/>
            <ac:picMk id="54" creationId="{DBF2EA09-0BBE-EFA5-1446-0622E6E69237}"/>
          </ac:picMkLst>
        </pc:picChg>
        <pc:picChg chg="del">
          <ac:chgData name="Otavio Augusto Sabia Gava" userId="68ac195b-011b-467c-86d4-321df89323d0" providerId="ADAL" clId="{0C687AD9-2800-41E2-AA69-D02ABC7EDD76}" dt="2023-11-21T11:52:36.167" v="13527" actId="478"/>
          <ac:picMkLst>
            <pc:docMk/>
            <pc:sldMk cId="1125003405" sldId="3017"/>
            <ac:picMk id="74" creationId="{538664B7-7751-52BE-2150-33FC191131F3}"/>
          </ac:picMkLst>
        </pc:picChg>
        <pc:picChg chg="del">
          <ac:chgData name="Otavio Augusto Sabia Gava" userId="68ac195b-011b-467c-86d4-321df89323d0" providerId="ADAL" clId="{0C687AD9-2800-41E2-AA69-D02ABC7EDD76}" dt="2023-11-21T11:52:36.990" v="13528" actId="478"/>
          <ac:picMkLst>
            <pc:docMk/>
            <pc:sldMk cId="1125003405" sldId="3017"/>
            <ac:picMk id="75" creationId="{3B35F98C-09B0-435D-E0C6-F2C35C5113ED}"/>
          </ac:picMkLst>
        </pc:picChg>
        <pc:picChg chg="del">
          <ac:chgData name="Otavio Augusto Sabia Gava" userId="68ac195b-011b-467c-86d4-321df89323d0" providerId="ADAL" clId="{0C687AD9-2800-41E2-AA69-D02ABC7EDD76}" dt="2023-11-21T02:10:53.150" v="10159" actId="478"/>
          <ac:picMkLst>
            <pc:docMk/>
            <pc:sldMk cId="1125003405" sldId="3017"/>
            <ac:picMk id="1028" creationId="{4936FAEA-6F65-58BD-3406-787FFFADC025}"/>
          </ac:picMkLst>
        </pc:picChg>
        <pc:picChg chg="add del mod">
          <ac:chgData name="Otavio Augusto Sabia Gava" userId="68ac195b-011b-467c-86d4-321df89323d0" providerId="ADAL" clId="{0C687AD9-2800-41E2-AA69-D02ABC7EDD76}" dt="2023-11-20T21:09:16.247" v="8076" actId="478"/>
          <ac:picMkLst>
            <pc:docMk/>
            <pc:sldMk cId="1125003405" sldId="3017"/>
            <ac:picMk id="16386" creationId="{AD027A33-DBC7-BB5A-1B01-C17A007CB25D}"/>
          </ac:picMkLst>
        </pc:picChg>
        <pc:picChg chg="add mod">
          <ac:chgData name="Otavio Augusto Sabia Gava" userId="68ac195b-011b-467c-86d4-321df89323d0" providerId="ADAL" clId="{0C687AD9-2800-41E2-AA69-D02ABC7EDD76}" dt="2023-11-20T21:09:24.900" v="8081" actId="1076"/>
          <ac:picMkLst>
            <pc:docMk/>
            <pc:sldMk cId="1125003405" sldId="3017"/>
            <ac:picMk id="16388" creationId="{DF8FC1BB-A300-5E42-688E-1780C54BFE40}"/>
          </ac:picMkLst>
        </pc:picChg>
        <pc:picChg chg="add mod">
          <ac:chgData name="Otavio Augusto Sabia Gava" userId="68ac195b-011b-467c-86d4-321df89323d0" providerId="ADAL" clId="{0C687AD9-2800-41E2-AA69-D02ABC7EDD76}" dt="2023-11-21T02:11:13.404" v="10169" actId="1076"/>
          <ac:picMkLst>
            <pc:docMk/>
            <pc:sldMk cId="1125003405" sldId="3017"/>
            <ac:picMk id="16390" creationId="{B9861BFE-6E7D-C020-FCD4-A8B62B299DF6}"/>
          </ac:picMkLst>
        </pc:picChg>
      </pc:sldChg>
      <pc:sldChg chg="add del">
        <pc:chgData name="Otavio Augusto Sabia Gava" userId="68ac195b-011b-467c-86d4-321df89323d0" providerId="ADAL" clId="{0C687AD9-2800-41E2-AA69-D02ABC7EDD76}" dt="2023-11-20T12:59:36.919" v="3776" actId="47"/>
        <pc:sldMkLst>
          <pc:docMk/>
          <pc:sldMk cId="3099175466" sldId="3017"/>
        </pc:sldMkLst>
      </pc:sldChg>
      <pc:sldChg chg="add del">
        <pc:chgData name="Otavio Augusto Sabia Gava" userId="68ac195b-011b-467c-86d4-321df89323d0" providerId="ADAL" clId="{0C687AD9-2800-41E2-AA69-D02ABC7EDD76}" dt="2023-11-20T02:47:32.421" v="3015" actId="47"/>
        <pc:sldMkLst>
          <pc:docMk/>
          <pc:sldMk cId="4028086621" sldId="3017"/>
        </pc:sldMkLst>
      </pc:sldChg>
      <pc:sldChg chg="add del">
        <pc:chgData name="Otavio Augusto Sabia Gava" userId="68ac195b-011b-467c-86d4-321df89323d0" providerId="ADAL" clId="{0C687AD9-2800-41E2-AA69-D02ABC7EDD76}" dt="2023-11-20T02:47:28.687" v="3014" actId="47"/>
        <pc:sldMkLst>
          <pc:docMk/>
          <pc:sldMk cId="1134440333" sldId="3018"/>
        </pc:sldMkLst>
      </pc:sldChg>
      <pc:sldChg chg="addSp delSp modSp add mod or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3488331782" sldId="3018"/>
        </pc:sldMkLst>
        <pc:spChg chg="add del mod">
          <ac:chgData name="Otavio Augusto Sabia Gava" userId="68ac195b-011b-467c-86d4-321df89323d0" providerId="ADAL" clId="{0C687AD9-2800-41E2-AA69-D02ABC7EDD76}" dt="2023-11-20T13:06:25.233" v="4054" actId="478"/>
          <ac:spMkLst>
            <pc:docMk/>
            <pc:sldMk cId="3488331782" sldId="3018"/>
            <ac:spMk id="2" creationId="{FFD250FA-BC7A-7758-3E6F-2C4B5C53BBEE}"/>
          </ac:spMkLst>
        </pc:spChg>
        <pc:spChg chg="add mod">
          <ac:chgData name="Otavio Augusto Sabia Gava" userId="68ac195b-011b-467c-86d4-321df89323d0" providerId="ADAL" clId="{0C687AD9-2800-41E2-AA69-D02ABC7EDD76}" dt="2023-11-20T13:06:32.293" v="4055" actId="1076"/>
          <ac:spMkLst>
            <pc:docMk/>
            <pc:sldMk cId="3488331782" sldId="3018"/>
            <ac:spMk id="3" creationId="{750AC519-9720-6EBC-2C7C-E42ECD70F0E7}"/>
          </ac:spMkLst>
        </pc:spChg>
        <pc:spChg chg="mod">
          <ac:chgData name="Otavio Augusto Sabia Gava" userId="68ac195b-011b-467c-86d4-321df89323d0" providerId="ADAL" clId="{0C687AD9-2800-41E2-AA69-D02ABC7EDD76}" dt="2023-11-20T13:07:20.815" v="4071" actId="20577"/>
          <ac:spMkLst>
            <pc:docMk/>
            <pc:sldMk cId="3488331782" sldId="3018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0T14:21:31.299" v="5904" actId="208"/>
          <ac:spMkLst>
            <pc:docMk/>
            <pc:sldMk cId="3488331782" sldId="3018"/>
            <ac:spMk id="6" creationId="{60FEB9C0-C501-ABB5-5118-A122C686CCEA}"/>
          </ac:spMkLst>
        </pc:spChg>
        <pc:spChg chg="mod">
          <ac:chgData name="Otavio Augusto Sabia Gava" userId="68ac195b-011b-467c-86d4-321df89323d0" providerId="ADAL" clId="{0C687AD9-2800-41E2-AA69-D02ABC7EDD76}" dt="2023-11-20T14:21:31.299" v="5904" actId="208"/>
          <ac:spMkLst>
            <pc:docMk/>
            <pc:sldMk cId="3488331782" sldId="3018"/>
            <ac:spMk id="8" creationId="{8900A815-9AA4-1415-E062-A2014B4E1CC2}"/>
          </ac:spMkLst>
        </pc:spChg>
        <pc:spChg chg="mod">
          <ac:chgData name="Otavio Augusto Sabia Gava" userId="68ac195b-011b-467c-86d4-321df89323d0" providerId="ADAL" clId="{0C687AD9-2800-41E2-AA69-D02ABC7EDD76}" dt="2023-11-20T14:21:35.529" v="5905" actId="208"/>
          <ac:spMkLst>
            <pc:docMk/>
            <pc:sldMk cId="3488331782" sldId="3018"/>
            <ac:spMk id="11" creationId="{900AE463-3C6E-EFC5-ED50-9746790FC34E}"/>
          </ac:spMkLst>
        </pc:spChg>
        <pc:spChg chg="mod">
          <ac:chgData name="Otavio Augusto Sabia Gava" userId="68ac195b-011b-467c-86d4-321df89323d0" providerId="ADAL" clId="{0C687AD9-2800-41E2-AA69-D02ABC7EDD76}" dt="2023-11-20T14:21:35.529" v="5905" actId="208"/>
          <ac:spMkLst>
            <pc:docMk/>
            <pc:sldMk cId="3488331782" sldId="3018"/>
            <ac:spMk id="12" creationId="{E065A0E7-1A45-8332-18B9-157F6546F50D}"/>
          </ac:spMkLst>
        </pc:spChg>
        <pc:spChg chg="mod">
          <ac:chgData name="Otavio Augusto Sabia Gava" userId="68ac195b-011b-467c-86d4-321df89323d0" providerId="ADAL" clId="{0C687AD9-2800-41E2-AA69-D02ABC7EDD76}" dt="2023-11-20T14:21:40.916" v="5906" actId="208"/>
          <ac:spMkLst>
            <pc:docMk/>
            <pc:sldMk cId="3488331782" sldId="3018"/>
            <ac:spMk id="15" creationId="{0A5B4E35-991C-6778-A581-AAEB6E592C40}"/>
          </ac:spMkLst>
        </pc:spChg>
        <pc:spChg chg="mod">
          <ac:chgData name="Otavio Augusto Sabia Gava" userId="68ac195b-011b-467c-86d4-321df89323d0" providerId="ADAL" clId="{0C687AD9-2800-41E2-AA69-D02ABC7EDD76}" dt="2023-11-20T14:21:40.916" v="5906" actId="208"/>
          <ac:spMkLst>
            <pc:docMk/>
            <pc:sldMk cId="3488331782" sldId="3018"/>
            <ac:spMk id="16" creationId="{39C0E5C3-5696-B2EE-7F2F-2DFA093D1939}"/>
          </ac:spMkLst>
        </pc:spChg>
        <pc:spChg chg="mod">
          <ac:chgData name="Otavio Augusto Sabia Gava" userId="68ac195b-011b-467c-86d4-321df89323d0" providerId="ADAL" clId="{0C687AD9-2800-41E2-AA69-D02ABC7EDD76}" dt="2023-11-20T14:21:44.361" v="5907" actId="208"/>
          <ac:spMkLst>
            <pc:docMk/>
            <pc:sldMk cId="3488331782" sldId="3018"/>
            <ac:spMk id="18" creationId="{5785A8AF-C845-8EB0-66D4-F5626799ECFD}"/>
          </ac:spMkLst>
        </pc:spChg>
        <pc:spChg chg="mod">
          <ac:chgData name="Otavio Augusto Sabia Gava" userId="68ac195b-011b-467c-86d4-321df89323d0" providerId="ADAL" clId="{0C687AD9-2800-41E2-AA69-D02ABC7EDD76}" dt="2023-11-20T14:21:44.361" v="5907" actId="208"/>
          <ac:spMkLst>
            <pc:docMk/>
            <pc:sldMk cId="3488331782" sldId="3018"/>
            <ac:spMk id="19" creationId="{EE182B87-4540-985C-51C3-AA4E3F1B1BB3}"/>
          </ac:spMkLst>
        </pc:spChg>
        <pc:spChg chg="add mod">
          <ac:chgData name="Otavio Augusto Sabia Gava" userId="68ac195b-011b-467c-86d4-321df89323d0" providerId="ADAL" clId="{0C687AD9-2800-41E2-AA69-D02ABC7EDD76}" dt="2023-12-04T14:33:12.054" v="30215" actId="1036"/>
          <ac:spMkLst>
            <pc:docMk/>
            <pc:sldMk cId="3488331782" sldId="3018"/>
            <ac:spMk id="20" creationId="{CAA967EC-BE77-5CC1-733F-092A4E567F1F}"/>
          </ac:spMkLst>
        </pc:spChg>
        <pc:spChg chg="add mod">
          <ac:chgData name="Otavio Augusto Sabia Gava" userId="68ac195b-011b-467c-86d4-321df89323d0" providerId="ADAL" clId="{0C687AD9-2800-41E2-AA69-D02ABC7EDD76}" dt="2023-12-04T14:33:09.712" v="30213" actId="1036"/>
          <ac:spMkLst>
            <pc:docMk/>
            <pc:sldMk cId="3488331782" sldId="3018"/>
            <ac:spMk id="21" creationId="{ED95BE5F-AA1F-F882-28C9-5A70731E8EB9}"/>
          </ac:spMkLst>
        </pc:spChg>
        <pc:spChg chg="add mod">
          <ac:chgData name="Otavio Augusto Sabia Gava" userId="68ac195b-011b-467c-86d4-321df89323d0" providerId="ADAL" clId="{0C687AD9-2800-41E2-AA69-D02ABC7EDD76}" dt="2023-12-04T14:32:55.660" v="30195" actId="1037"/>
          <ac:spMkLst>
            <pc:docMk/>
            <pc:sldMk cId="3488331782" sldId="3018"/>
            <ac:spMk id="22" creationId="{4B8A6FF5-4E46-A56B-07BE-F5B8CE2638E9}"/>
          </ac:spMkLst>
        </pc:spChg>
        <pc:spChg chg="add mod">
          <ac:chgData name="Otavio Augusto Sabia Gava" userId="68ac195b-011b-467c-86d4-321df89323d0" providerId="ADAL" clId="{0C687AD9-2800-41E2-AA69-D02ABC7EDD76}" dt="2023-11-20T13:06:34.147" v="4056" actId="113"/>
          <ac:spMkLst>
            <pc:docMk/>
            <pc:sldMk cId="3488331782" sldId="3018"/>
            <ac:spMk id="28" creationId="{DD32FBD3-7DC2-B924-B58A-DF913696007F}"/>
          </ac:spMkLst>
        </pc:spChg>
        <pc:spChg chg="add mod">
          <ac:chgData name="Otavio Augusto Sabia Gava" userId="68ac195b-011b-467c-86d4-321df89323d0" providerId="ADAL" clId="{0C687AD9-2800-41E2-AA69-D02ABC7EDD76}" dt="2023-11-20T13:06:35.402" v="4057" actId="113"/>
          <ac:spMkLst>
            <pc:docMk/>
            <pc:sldMk cId="3488331782" sldId="3018"/>
            <ac:spMk id="29" creationId="{2C668C27-2752-68AF-9F5F-2BF7B88B2C11}"/>
          </ac:spMkLst>
        </pc:spChg>
        <pc:spChg chg="add mod">
          <ac:chgData name="Otavio Augusto Sabia Gava" userId="68ac195b-011b-467c-86d4-321df89323d0" providerId="ADAL" clId="{0C687AD9-2800-41E2-AA69-D02ABC7EDD76}" dt="2023-11-20T13:06:36.378" v="4058" actId="113"/>
          <ac:spMkLst>
            <pc:docMk/>
            <pc:sldMk cId="3488331782" sldId="3018"/>
            <ac:spMk id="30" creationId="{59695933-7A19-21C8-822B-00BBE261837A}"/>
          </ac:spMkLst>
        </pc:spChg>
        <pc:spChg chg="add mod">
          <ac:chgData name="Otavio Augusto Sabia Gava" userId="68ac195b-011b-467c-86d4-321df89323d0" providerId="ADAL" clId="{0C687AD9-2800-41E2-AA69-D02ABC7EDD76}" dt="2023-11-20T13:06:38.659" v="4060" actId="113"/>
          <ac:spMkLst>
            <pc:docMk/>
            <pc:sldMk cId="3488331782" sldId="3018"/>
            <ac:spMk id="31" creationId="{74162017-0F61-DA28-FF8C-53C9D8D9F9E1}"/>
          </ac:spMkLst>
        </pc:spChg>
        <pc:spChg chg="add mod">
          <ac:chgData name="Otavio Augusto Sabia Gava" userId="68ac195b-011b-467c-86d4-321df89323d0" providerId="ADAL" clId="{0C687AD9-2800-41E2-AA69-D02ABC7EDD76}" dt="2023-12-04T14:33:07.245" v="30209" actId="1036"/>
          <ac:spMkLst>
            <pc:docMk/>
            <pc:sldMk cId="3488331782" sldId="3018"/>
            <ac:spMk id="35" creationId="{83B92F57-3EF6-B3C3-EE62-AC4743C7B32B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36" creationId="{D5324987-6ABD-02BC-E1D5-0273E231312C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37" creationId="{72C8E118-A821-83CE-B0E6-F441703E2BC8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38" creationId="{FAB55431-9773-30D3-6CC7-B145C4A6656C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39" creationId="{D43FF608-ADB7-C07C-1BBF-5D3FA59B20E6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0" creationId="{96FAA112-7E95-6315-FEA3-C06482F1D090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1" creationId="{0D2B43DF-CFC3-8AFF-5E13-3D28FD823816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2" creationId="{3C7EB66B-E713-35D9-666A-904EA8D28BB6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3" creationId="{198C50E4-CE7E-A230-A373-3A991BD07217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4" creationId="{9E15CB35-3EA8-C4E8-3362-DE2AB0D8CCBD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5" creationId="{9DD30752-8F43-316F-026E-0B480E27F43B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6" creationId="{30DD34B2-205B-494E-6F71-4D7B59FCDB01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7" creationId="{1E68DDF8-4DC6-40E1-24DA-BAB508EF3372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8" creationId="{1EAB79BA-BF2C-7B80-1729-62ABD2487185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49" creationId="{9201518C-D283-D1F7-C225-63C8DE5E6956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0" creationId="{670CBB8B-E627-B3E9-C740-DFB777A08892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5" creationId="{FE77F5A9-9A5C-CEDC-9B48-CFBEDAB660CD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6" creationId="{B9F064FB-5F1D-603D-E0DF-3B73D9D2404B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7" creationId="{9806DE64-7D9B-A723-063B-C30FF612601C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8" creationId="{718543CA-E745-A550-CB24-5F851B3BC7D7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59" creationId="{3720787B-E9DC-24A4-4684-5FAE8F677164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60" creationId="{A5026954-B2DA-0422-9733-1FA60CA4621F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61" creationId="{8465B7E7-DAC5-7411-B6E6-02D26BA21881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62" creationId="{2CF2DFE6-6A33-446A-5924-4D68A81BE3CE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65" creationId="{41CB341D-60F5-C4BF-DB6B-05F9D79A65B5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66" creationId="{FCB2C606-353C-21E0-7021-8085565F669F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68" creationId="{2780A738-C02C-75CE-498D-EB2DA8E95ABD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69" creationId="{805D7B61-A542-2943-0661-866961446ACA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71" creationId="{AA4342A8-5777-5B13-7FAA-1044E3706132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72" creationId="{73E5245F-1FFC-F7A7-649D-E50C7E5B737F}"/>
          </ac:spMkLst>
        </pc:spChg>
        <pc:spChg chg="del">
          <ac:chgData name="Otavio Augusto Sabia Gava" userId="68ac195b-011b-467c-86d4-321df89323d0" providerId="ADAL" clId="{0C687AD9-2800-41E2-AA69-D02ABC7EDD76}" dt="2023-11-20T13:02:14.270" v="4000" actId="478"/>
          <ac:spMkLst>
            <pc:docMk/>
            <pc:sldMk cId="3488331782" sldId="3018"/>
            <ac:spMk id="73" creationId="{96869582-FC52-1CB0-9FD1-06B1210DD84E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77" creationId="{AEC6B739-00FB-7C19-EB9A-DC9FBB8EC62C}"/>
          </ac:spMkLst>
        </pc:spChg>
        <pc:spChg chg="mod">
          <ac:chgData name="Otavio Augusto Sabia Gava" userId="68ac195b-011b-467c-86d4-321df89323d0" providerId="ADAL" clId="{0C687AD9-2800-41E2-AA69-D02ABC7EDD76}" dt="2023-11-20T13:04:14.888" v="4002" actId="1076"/>
          <ac:spMkLst>
            <pc:docMk/>
            <pc:sldMk cId="3488331782" sldId="3018"/>
            <ac:spMk id="78" creationId="{BD8E497D-9821-6101-DA9A-DF1ED3AAD966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83" creationId="{B065FFCD-9AF0-4609-DC74-34CF3861F5B4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84" creationId="{CE2EB946-298D-8073-6955-3DD70D345555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85" creationId="{F56FEA86-85F8-C66D-A111-D8779B8BF6A1}"/>
          </ac:spMkLst>
        </pc:spChg>
        <pc:spChg chg="add del mod">
          <ac:chgData name="Otavio Augusto Sabia Gava" userId="68ac195b-011b-467c-86d4-321df89323d0" providerId="ADAL" clId="{0C687AD9-2800-41E2-AA69-D02ABC7EDD76}" dt="2023-11-20T13:06:21.107" v="4053" actId="478"/>
          <ac:spMkLst>
            <pc:docMk/>
            <pc:sldMk cId="3488331782" sldId="3018"/>
            <ac:spMk id="86" creationId="{1C9D7C79-F481-5DCF-A000-4D4DC57CB08B}"/>
          </ac:spMkLst>
        </pc:spChg>
        <pc:spChg chg="add del mod">
          <ac:chgData name="Otavio Augusto Sabia Gava" userId="68ac195b-011b-467c-86d4-321df89323d0" providerId="ADAL" clId="{0C687AD9-2800-41E2-AA69-D02ABC7EDD76}" dt="2023-11-20T13:06:56.785" v="4063" actId="478"/>
          <ac:spMkLst>
            <pc:docMk/>
            <pc:sldMk cId="3488331782" sldId="3018"/>
            <ac:spMk id="87" creationId="{758BBB6A-D762-2614-BAAE-DAF1C4F2B27A}"/>
          </ac:spMkLst>
        </pc:spChg>
        <pc:spChg chg="add del mod">
          <ac:chgData name="Otavio Augusto Sabia Gava" userId="68ac195b-011b-467c-86d4-321df89323d0" providerId="ADAL" clId="{0C687AD9-2800-41E2-AA69-D02ABC7EDD76}" dt="2023-11-20T13:07:05.617" v="4065" actId="478"/>
          <ac:spMkLst>
            <pc:docMk/>
            <pc:sldMk cId="3488331782" sldId="3018"/>
            <ac:spMk id="89" creationId="{8A4E5F18-1A73-E734-D145-45C3D1C42E76}"/>
          </ac:spMkLst>
        </pc:spChg>
        <pc:grpChg chg="add mod">
          <ac:chgData name="Otavio Augusto Sabia Gava" userId="68ac195b-011b-467c-86d4-321df89323d0" providerId="ADAL" clId="{0C687AD9-2800-41E2-AA69-D02ABC7EDD76}" dt="2023-11-20T13:06:32.293" v="4055" actId="1076"/>
          <ac:grpSpMkLst>
            <pc:docMk/>
            <pc:sldMk cId="3488331782" sldId="3018"/>
            <ac:grpSpMk id="4" creationId="{02FEB559-6647-4561-B762-4F3141D2E569}"/>
          </ac:grpSpMkLst>
        </pc:grpChg>
        <pc:grpChg chg="add mod">
          <ac:chgData name="Otavio Augusto Sabia Gava" userId="68ac195b-011b-467c-86d4-321df89323d0" providerId="ADAL" clId="{0C687AD9-2800-41E2-AA69-D02ABC7EDD76}" dt="2023-11-20T13:06:32.293" v="4055" actId="1076"/>
          <ac:grpSpMkLst>
            <pc:docMk/>
            <pc:sldMk cId="3488331782" sldId="3018"/>
            <ac:grpSpMk id="10" creationId="{940004A6-6DEA-FD9F-4854-DA87AF74ED1D}"/>
          </ac:grpSpMkLst>
        </pc:grpChg>
        <pc:grpChg chg="add mod">
          <ac:chgData name="Otavio Augusto Sabia Gava" userId="68ac195b-011b-467c-86d4-321df89323d0" providerId="ADAL" clId="{0C687AD9-2800-41E2-AA69-D02ABC7EDD76}" dt="2023-11-20T13:06:32.293" v="4055" actId="1076"/>
          <ac:grpSpMkLst>
            <pc:docMk/>
            <pc:sldMk cId="3488331782" sldId="3018"/>
            <ac:grpSpMk id="14" creationId="{17069116-848D-0489-EB04-D6DB3F962841}"/>
          </ac:grpSpMkLst>
        </pc:grpChg>
        <pc:grpChg chg="add mod">
          <ac:chgData name="Otavio Augusto Sabia Gava" userId="68ac195b-011b-467c-86d4-321df89323d0" providerId="ADAL" clId="{0C687AD9-2800-41E2-AA69-D02ABC7EDD76}" dt="2023-11-20T13:06:32.293" v="4055" actId="1076"/>
          <ac:grpSpMkLst>
            <pc:docMk/>
            <pc:sldMk cId="3488331782" sldId="3018"/>
            <ac:grpSpMk id="17" creationId="{05ACDCBC-1266-D844-49DA-A45EFBDF85A5}"/>
          </ac:grpSpMkLst>
        </pc:grpChg>
        <pc:grpChg chg="add del mod">
          <ac:chgData name="Otavio Augusto Sabia Gava" userId="68ac195b-011b-467c-86d4-321df89323d0" providerId="ADAL" clId="{0C687AD9-2800-41E2-AA69-D02ABC7EDD76}" dt="2023-11-20T13:06:21.107" v="4053" actId="478"/>
          <ac:grpSpMkLst>
            <pc:docMk/>
            <pc:sldMk cId="3488331782" sldId="3018"/>
            <ac:grpSpMk id="64" creationId="{6CD8FF15-2374-530D-E84C-97C9D11D3E86}"/>
          </ac:grpSpMkLst>
        </pc:grpChg>
        <pc:grpChg chg="add del mod">
          <ac:chgData name="Otavio Augusto Sabia Gava" userId="68ac195b-011b-467c-86d4-321df89323d0" providerId="ADAL" clId="{0C687AD9-2800-41E2-AA69-D02ABC7EDD76}" dt="2023-11-20T13:06:21.107" v="4053" actId="478"/>
          <ac:grpSpMkLst>
            <pc:docMk/>
            <pc:sldMk cId="3488331782" sldId="3018"/>
            <ac:grpSpMk id="67" creationId="{B2DEA777-CA27-4B24-2E3E-A3D5E9595EA0}"/>
          </ac:grpSpMkLst>
        </pc:grpChg>
        <pc:grpChg chg="add del mod">
          <ac:chgData name="Otavio Augusto Sabia Gava" userId="68ac195b-011b-467c-86d4-321df89323d0" providerId="ADAL" clId="{0C687AD9-2800-41E2-AA69-D02ABC7EDD76}" dt="2023-11-20T13:06:21.107" v="4053" actId="478"/>
          <ac:grpSpMkLst>
            <pc:docMk/>
            <pc:sldMk cId="3488331782" sldId="3018"/>
            <ac:grpSpMk id="76" creationId="{E79945B4-B695-23E4-C5A7-E68A23E40E52}"/>
          </ac:grpSpMkLst>
        </pc:grp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7" creationId="{7E9BD9C3-7A21-521C-A087-9808E75CE8ED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9" creationId="{19AC255F-403F-33E6-FBD0-A41D49AD068D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13" creationId="{31837182-35FD-BD06-5DA3-400597567CF6}"/>
          </ac:picMkLst>
        </pc:picChg>
        <pc:picChg chg="add del mod">
          <ac:chgData name="Otavio Augusto Sabia Gava" userId="68ac195b-011b-467c-86d4-321df89323d0" providerId="ADAL" clId="{0C687AD9-2800-41E2-AA69-D02ABC7EDD76}" dt="2023-11-20T13:06:11.606" v="4048" actId="478"/>
          <ac:picMkLst>
            <pc:docMk/>
            <pc:sldMk cId="3488331782" sldId="3018"/>
            <ac:picMk id="23" creationId="{27191213-E048-25EE-661B-104C5CA57FC8}"/>
          </ac:picMkLst>
        </pc:picChg>
        <pc:picChg chg="add del mod">
          <ac:chgData name="Otavio Augusto Sabia Gava" userId="68ac195b-011b-467c-86d4-321df89323d0" providerId="ADAL" clId="{0C687AD9-2800-41E2-AA69-D02ABC7EDD76}" dt="2023-11-20T13:06:12.099" v="4049" actId="478"/>
          <ac:picMkLst>
            <pc:docMk/>
            <pc:sldMk cId="3488331782" sldId="3018"/>
            <ac:picMk id="24" creationId="{BDE816E8-FFAE-041F-381C-10A9EDF35457}"/>
          </ac:picMkLst>
        </pc:picChg>
        <pc:picChg chg="add del mod">
          <ac:chgData name="Otavio Augusto Sabia Gava" userId="68ac195b-011b-467c-86d4-321df89323d0" providerId="ADAL" clId="{0C687AD9-2800-41E2-AA69-D02ABC7EDD76}" dt="2023-11-20T13:06:12.701" v="4050" actId="478"/>
          <ac:picMkLst>
            <pc:docMk/>
            <pc:sldMk cId="3488331782" sldId="3018"/>
            <ac:picMk id="25" creationId="{36B2BA45-2366-22A1-E738-3F2E8DFD5A8B}"/>
          </ac:picMkLst>
        </pc:picChg>
        <pc:picChg chg="add del mod">
          <ac:chgData name="Otavio Augusto Sabia Gava" userId="68ac195b-011b-467c-86d4-321df89323d0" providerId="ADAL" clId="{0C687AD9-2800-41E2-AA69-D02ABC7EDD76}" dt="2023-11-20T13:06:13.277" v="4051" actId="478"/>
          <ac:picMkLst>
            <pc:docMk/>
            <pc:sldMk cId="3488331782" sldId="3018"/>
            <ac:picMk id="26" creationId="{9576D749-6D39-D418-B5E2-ABC3E11CF551}"/>
          </ac:picMkLst>
        </pc:picChg>
        <pc:picChg chg="add mod">
          <ac:chgData name="Otavio Augusto Sabia Gava" userId="68ac195b-011b-467c-86d4-321df89323d0" providerId="ADAL" clId="{0C687AD9-2800-41E2-AA69-D02ABC7EDD76}" dt="2023-11-20T13:06:32.293" v="4055" actId="1076"/>
          <ac:picMkLst>
            <pc:docMk/>
            <pc:sldMk cId="3488331782" sldId="3018"/>
            <ac:picMk id="27" creationId="{A6560377-F9BC-8687-560E-5312632FC7AB}"/>
          </ac:picMkLst>
        </pc:picChg>
        <pc:picChg chg="add mod">
          <ac:chgData name="Otavio Augusto Sabia Gava" userId="68ac195b-011b-467c-86d4-321df89323d0" providerId="ADAL" clId="{0C687AD9-2800-41E2-AA69-D02ABC7EDD76}" dt="2023-11-20T13:06:32.293" v="4055" actId="1076"/>
          <ac:picMkLst>
            <pc:docMk/>
            <pc:sldMk cId="3488331782" sldId="3018"/>
            <ac:picMk id="32" creationId="{B7ADEEB7-E847-F839-8309-D0ECD62F715D}"/>
          </ac:picMkLst>
        </pc:picChg>
        <pc:picChg chg="add mod">
          <ac:chgData name="Otavio Augusto Sabia Gava" userId="68ac195b-011b-467c-86d4-321df89323d0" providerId="ADAL" clId="{0C687AD9-2800-41E2-AA69-D02ABC7EDD76}" dt="2023-11-20T13:06:32.293" v="4055" actId="1076"/>
          <ac:picMkLst>
            <pc:docMk/>
            <pc:sldMk cId="3488331782" sldId="3018"/>
            <ac:picMk id="33" creationId="{485BD91D-E7C1-407C-7544-7AC73303E2F8}"/>
          </ac:picMkLst>
        </pc:picChg>
        <pc:picChg chg="add mod">
          <ac:chgData name="Otavio Augusto Sabia Gava" userId="68ac195b-011b-467c-86d4-321df89323d0" providerId="ADAL" clId="{0C687AD9-2800-41E2-AA69-D02ABC7EDD76}" dt="2023-11-20T13:06:32.293" v="4055" actId="1076"/>
          <ac:picMkLst>
            <pc:docMk/>
            <pc:sldMk cId="3488331782" sldId="3018"/>
            <ac:picMk id="34" creationId="{0F61F2E2-FC94-E640-7EBF-B019CF5BBF77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51" creationId="{D8154E09-752E-4E9B-9CE8-9010F37DF55A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52" creationId="{B6773EC1-C8BC-9569-BF88-42C97640DF28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53" creationId="{CF659367-3CB1-2B3F-0BEB-FBE252A7AF81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54" creationId="{DBF2EA09-0BBE-EFA5-1446-0622E6E69237}"/>
          </ac:picMkLst>
        </pc:picChg>
        <pc:picChg chg="add del mod">
          <ac:chgData name="Otavio Augusto Sabia Gava" userId="68ac195b-011b-467c-86d4-321df89323d0" providerId="ADAL" clId="{0C687AD9-2800-41E2-AA69-D02ABC7EDD76}" dt="2023-11-20T13:06:21.107" v="4053" actId="478"/>
          <ac:picMkLst>
            <pc:docMk/>
            <pc:sldMk cId="3488331782" sldId="3018"/>
            <ac:picMk id="70" creationId="{D0496CA2-7CAF-6F36-A80B-40D4920B8F86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74" creationId="{538664B7-7751-52BE-2150-33FC191131F3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75" creationId="{3B35F98C-09B0-435D-E0C6-F2C35C5113ED}"/>
          </ac:picMkLst>
        </pc:picChg>
        <pc:picChg chg="add del mod">
          <ac:chgData name="Otavio Augusto Sabia Gava" userId="68ac195b-011b-467c-86d4-321df89323d0" providerId="ADAL" clId="{0C687AD9-2800-41E2-AA69-D02ABC7EDD76}" dt="2023-11-20T13:06:21.107" v="4053" actId="478"/>
          <ac:picMkLst>
            <pc:docMk/>
            <pc:sldMk cId="3488331782" sldId="3018"/>
            <ac:picMk id="79" creationId="{F2779E39-55AD-1F10-87C2-4CB6DA13CF22}"/>
          </ac:picMkLst>
        </pc:picChg>
        <pc:picChg chg="add del mod">
          <ac:chgData name="Otavio Augusto Sabia Gava" userId="68ac195b-011b-467c-86d4-321df89323d0" providerId="ADAL" clId="{0C687AD9-2800-41E2-AA69-D02ABC7EDD76}" dt="2023-11-20T13:06:21.107" v="4053" actId="478"/>
          <ac:picMkLst>
            <pc:docMk/>
            <pc:sldMk cId="3488331782" sldId="3018"/>
            <ac:picMk id="80" creationId="{A80E98FF-83D8-7245-7A70-BE25BEF9B718}"/>
          </ac:picMkLst>
        </pc:picChg>
        <pc:picChg chg="add del mod">
          <ac:chgData name="Otavio Augusto Sabia Gava" userId="68ac195b-011b-467c-86d4-321df89323d0" providerId="ADAL" clId="{0C687AD9-2800-41E2-AA69-D02ABC7EDD76}" dt="2023-11-20T13:06:21.107" v="4053" actId="478"/>
          <ac:picMkLst>
            <pc:docMk/>
            <pc:sldMk cId="3488331782" sldId="3018"/>
            <ac:picMk id="81" creationId="{FA9BF330-7CFC-24F0-1242-19AD3CB61E05}"/>
          </ac:picMkLst>
        </pc:picChg>
        <pc:picChg chg="add del mod">
          <ac:chgData name="Otavio Augusto Sabia Gava" userId="68ac195b-011b-467c-86d4-321df89323d0" providerId="ADAL" clId="{0C687AD9-2800-41E2-AA69-D02ABC7EDD76}" dt="2023-11-20T13:06:21.107" v="4053" actId="478"/>
          <ac:picMkLst>
            <pc:docMk/>
            <pc:sldMk cId="3488331782" sldId="3018"/>
            <ac:picMk id="82" creationId="{48C87A5A-FEF7-C764-4D4D-36986CD5527D}"/>
          </ac:picMkLst>
        </pc:picChg>
        <pc:picChg chg="add mod">
          <ac:chgData name="Otavio Augusto Sabia Gava" userId="68ac195b-011b-467c-86d4-321df89323d0" providerId="ADAL" clId="{0C687AD9-2800-41E2-AA69-D02ABC7EDD76}" dt="2023-11-28T19:48:13.970" v="21758"/>
          <ac:picMkLst>
            <pc:docMk/>
            <pc:sldMk cId="3488331782" sldId="3018"/>
            <ac:picMk id="90" creationId="{A307619D-7E7E-9AF2-AC93-1D1D7315D7E7}"/>
          </ac:picMkLst>
        </pc:picChg>
        <pc:picChg chg="add del mod">
          <ac:chgData name="Otavio Augusto Sabia Gava" userId="68ac195b-011b-467c-86d4-321df89323d0" providerId="ADAL" clId="{0C687AD9-2800-41E2-AA69-D02ABC7EDD76}" dt="2023-11-20T13:28:44.653" v="4215" actId="478"/>
          <ac:picMkLst>
            <pc:docMk/>
            <pc:sldMk cId="3488331782" sldId="3018"/>
            <ac:picMk id="91" creationId="{60BC8A05-42CD-E43E-6746-5F2034B66473}"/>
          </ac:picMkLst>
        </pc:picChg>
        <pc:picChg chg="del">
          <ac:chgData name="Otavio Augusto Sabia Gava" userId="68ac195b-011b-467c-86d4-321df89323d0" providerId="ADAL" clId="{0C687AD9-2800-41E2-AA69-D02ABC7EDD76}" dt="2023-11-20T13:02:14.270" v="4000" actId="478"/>
          <ac:picMkLst>
            <pc:docMk/>
            <pc:sldMk cId="3488331782" sldId="3018"/>
            <ac:picMk id="1028" creationId="{4936FAEA-6F65-58BD-3406-787FFFADC025}"/>
          </ac:picMkLst>
        </pc:picChg>
        <pc:cxnChg chg="del">
          <ac:chgData name="Otavio Augusto Sabia Gava" userId="68ac195b-011b-467c-86d4-321df89323d0" providerId="ADAL" clId="{0C687AD9-2800-41E2-AA69-D02ABC7EDD76}" dt="2023-11-20T13:02:14.270" v="4000" actId="478"/>
          <ac:cxnSpMkLst>
            <pc:docMk/>
            <pc:sldMk cId="3488331782" sldId="3018"/>
            <ac:cxnSpMk id="63" creationId="{57FFC24A-4D52-01EE-4D4C-E5ABABDB9EBD}"/>
          </ac:cxnSpMkLst>
        </pc:cxnChg>
      </pc:sldChg>
      <pc:sldChg chg="addSp modSp add del mod">
        <pc:chgData name="Otavio Augusto Sabia Gava" userId="68ac195b-011b-467c-86d4-321df89323d0" providerId="ADAL" clId="{0C687AD9-2800-41E2-AA69-D02ABC7EDD76}" dt="2023-11-20T13:28:11.107" v="4213" actId="47"/>
        <pc:sldMkLst>
          <pc:docMk/>
          <pc:sldMk cId="2452369201" sldId="3019"/>
        </pc:sldMkLst>
        <pc:spChg chg="add mod">
          <ac:chgData name="Otavio Augusto Sabia Gava" userId="68ac195b-011b-467c-86d4-321df89323d0" providerId="ADAL" clId="{0C687AD9-2800-41E2-AA69-D02ABC7EDD76}" dt="2023-11-20T13:27:15.919" v="4207" actId="1076"/>
          <ac:spMkLst>
            <pc:docMk/>
            <pc:sldMk cId="2452369201" sldId="3019"/>
            <ac:spMk id="2" creationId="{638A54DC-5F66-542D-7090-4A7907A69093}"/>
          </ac:spMkLst>
        </pc:spChg>
        <pc:spChg chg="add mod">
          <ac:chgData name="Otavio Augusto Sabia Gava" userId="68ac195b-011b-467c-86d4-321df89323d0" providerId="ADAL" clId="{0C687AD9-2800-41E2-AA69-D02ABC7EDD76}" dt="2023-11-20T13:27:20.175" v="4208" actId="1076"/>
          <ac:spMkLst>
            <pc:docMk/>
            <pc:sldMk cId="2452369201" sldId="3019"/>
            <ac:spMk id="4" creationId="{B41C98F0-6E78-4A50-A5EE-8AF862A7FEF3}"/>
          </ac:spMkLst>
        </pc:spChg>
        <pc:spChg chg="add mod">
          <ac:chgData name="Otavio Augusto Sabia Gava" userId="68ac195b-011b-467c-86d4-321df89323d0" providerId="ADAL" clId="{0C687AD9-2800-41E2-AA69-D02ABC7EDD76}" dt="2023-11-20T13:27:24.310" v="4209" actId="1076"/>
          <ac:spMkLst>
            <pc:docMk/>
            <pc:sldMk cId="2452369201" sldId="3019"/>
            <ac:spMk id="6" creationId="{E12C34E7-4367-016E-CFFD-FA0EA3B09AE5}"/>
          </ac:spMkLst>
        </pc:spChg>
        <pc:spChg chg="mod">
          <ac:chgData name="Otavio Augusto Sabia Gava" userId="68ac195b-011b-467c-86d4-321df89323d0" providerId="ADAL" clId="{0C687AD9-2800-41E2-AA69-D02ABC7EDD76}" dt="2023-11-20T13:26:55.883" v="4200" actId="14100"/>
          <ac:spMkLst>
            <pc:docMk/>
            <pc:sldMk cId="2452369201" sldId="3019"/>
            <ac:spMk id="8" creationId="{5830A6D6-EB8D-089F-C9DD-67EF13A9F4D7}"/>
          </ac:spMkLst>
        </pc:spChg>
        <pc:spChg chg="mod">
          <ac:chgData name="Otavio Augusto Sabia Gava" userId="68ac195b-011b-467c-86d4-321df89323d0" providerId="ADAL" clId="{0C687AD9-2800-41E2-AA69-D02ABC7EDD76}" dt="2023-11-20T13:27:10.831" v="4205" actId="1076"/>
          <ac:spMkLst>
            <pc:docMk/>
            <pc:sldMk cId="2452369201" sldId="3019"/>
            <ac:spMk id="10" creationId="{631584B4-875C-5638-73A5-257C33B08C58}"/>
          </ac:spMkLst>
        </pc:spChg>
        <pc:spChg chg="mod">
          <ac:chgData name="Otavio Augusto Sabia Gava" userId="68ac195b-011b-467c-86d4-321df89323d0" providerId="ADAL" clId="{0C687AD9-2800-41E2-AA69-D02ABC7EDD76}" dt="2023-11-20T13:27:13.825" v="4206" actId="1076"/>
          <ac:spMkLst>
            <pc:docMk/>
            <pc:sldMk cId="2452369201" sldId="3019"/>
            <ac:spMk id="12" creationId="{29CA44F6-AE19-6E8C-DAE9-49EE05CF4BC5}"/>
          </ac:spMkLst>
        </pc:spChg>
        <pc:spChg chg="mod">
          <ac:chgData name="Otavio Augusto Sabia Gava" userId="68ac195b-011b-467c-86d4-321df89323d0" providerId="ADAL" clId="{0C687AD9-2800-41E2-AA69-D02ABC7EDD76}" dt="2023-11-20T13:27:43.977" v="4212" actId="1076"/>
          <ac:spMkLst>
            <pc:docMk/>
            <pc:sldMk cId="2452369201" sldId="3019"/>
            <ac:spMk id="14" creationId="{372BA7A7-A833-343E-3D30-F78FCD044454}"/>
          </ac:spMkLst>
        </pc:spChg>
        <pc:spChg chg="mod">
          <ac:chgData name="Otavio Augusto Sabia Gava" userId="68ac195b-011b-467c-86d4-321df89323d0" providerId="ADAL" clId="{0C687AD9-2800-41E2-AA69-D02ABC7EDD76}" dt="2023-11-20T13:26:25.812" v="4191" actId="1076"/>
          <ac:spMkLst>
            <pc:docMk/>
            <pc:sldMk cId="2452369201" sldId="3019"/>
            <ac:spMk id="15" creationId="{ACFCB731-3809-43AB-E79E-CFA4F8CC7B1C}"/>
          </ac:spMkLst>
        </pc:spChg>
        <pc:spChg chg="mod">
          <ac:chgData name="Otavio Augusto Sabia Gava" userId="68ac195b-011b-467c-86d4-321df89323d0" providerId="ADAL" clId="{0C687AD9-2800-41E2-AA69-D02ABC7EDD76}" dt="2023-11-20T13:26:25.812" v="4191" actId="1076"/>
          <ac:spMkLst>
            <pc:docMk/>
            <pc:sldMk cId="2452369201" sldId="3019"/>
            <ac:spMk id="16" creationId="{CDB50F55-990B-F0A0-2D46-983955A9178C}"/>
          </ac:spMkLst>
        </pc:spChg>
        <pc:spChg chg="mod">
          <ac:chgData name="Otavio Augusto Sabia Gava" userId="68ac195b-011b-467c-86d4-321df89323d0" providerId="ADAL" clId="{0C687AD9-2800-41E2-AA69-D02ABC7EDD76}" dt="2023-11-20T13:26:25.812" v="4191" actId="1076"/>
          <ac:spMkLst>
            <pc:docMk/>
            <pc:sldMk cId="2452369201" sldId="3019"/>
            <ac:spMk id="17" creationId="{6191B3D9-6BEE-FC1D-2961-B08F0D6CD07D}"/>
          </ac:spMkLst>
        </pc:spChg>
        <pc:spChg chg="mod">
          <ac:chgData name="Otavio Augusto Sabia Gava" userId="68ac195b-011b-467c-86d4-321df89323d0" providerId="ADAL" clId="{0C687AD9-2800-41E2-AA69-D02ABC7EDD76}" dt="2023-11-20T13:26:25.812" v="4191" actId="1076"/>
          <ac:spMkLst>
            <pc:docMk/>
            <pc:sldMk cId="2452369201" sldId="3019"/>
            <ac:spMk id="18" creationId="{E4ADD070-DEF2-5CAA-DCFC-1F50F7329EDE}"/>
          </ac:spMkLst>
        </pc:spChg>
        <pc:spChg chg="mod">
          <ac:chgData name="Otavio Augusto Sabia Gava" userId="68ac195b-011b-467c-86d4-321df89323d0" providerId="ADAL" clId="{0C687AD9-2800-41E2-AA69-D02ABC7EDD76}" dt="2023-11-20T13:26:25.812" v="4191" actId="1076"/>
          <ac:spMkLst>
            <pc:docMk/>
            <pc:sldMk cId="2452369201" sldId="3019"/>
            <ac:spMk id="19" creationId="{E67CD68A-8910-829F-B65B-779BCBEB87DC}"/>
          </ac:spMkLst>
        </pc:spChg>
        <pc:spChg chg="mod">
          <ac:chgData name="Otavio Augusto Sabia Gava" userId="68ac195b-011b-467c-86d4-321df89323d0" providerId="ADAL" clId="{0C687AD9-2800-41E2-AA69-D02ABC7EDD76}" dt="2023-11-20T13:26:29.466" v="4192" actId="1076"/>
          <ac:spMkLst>
            <pc:docMk/>
            <pc:sldMk cId="2452369201" sldId="3019"/>
            <ac:spMk id="21" creationId="{6B8489AB-2A95-CF58-4E5E-AC7DB6148B42}"/>
          </ac:spMkLst>
        </pc:spChg>
        <pc:spChg chg="mod">
          <ac:chgData name="Otavio Augusto Sabia Gava" userId="68ac195b-011b-467c-86d4-321df89323d0" providerId="ADAL" clId="{0C687AD9-2800-41E2-AA69-D02ABC7EDD76}" dt="2023-11-20T13:26:29.466" v="4192" actId="1076"/>
          <ac:spMkLst>
            <pc:docMk/>
            <pc:sldMk cId="2452369201" sldId="3019"/>
            <ac:spMk id="22" creationId="{1242D27C-6D11-AF3A-05DE-C74C6C72E549}"/>
          </ac:spMkLst>
        </pc:spChg>
      </pc:sldChg>
      <pc:sldChg chg="addSp delSp modSp add del mod">
        <pc:chgData name="Otavio Augusto Sabia Gava" userId="68ac195b-011b-467c-86d4-321df89323d0" providerId="ADAL" clId="{0C687AD9-2800-41E2-AA69-D02ABC7EDD76}" dt="2023-11-29T18:35:01.359" v="28765" actId="47"/>
        <pc:sldMkLst>
          <pc:docMk/>
          <pc:sldMk cId="2460064674" sldId="3019"/>
        </pc:sldMkLst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3" creationId="{750AC519-9720-6EBC-2C7C-E42ECD70F0E7}"/>
          </ac:spMkLst>
        </pc:spChg>
        <pc:spChg chg="mod">
          <ac:chgData name="Otavio Augusto Sabia Gava" userId="68ac195b-011b-467c-86d4-321df89323d0" providerId="ADAL" clId="{0C687AD9-2800-41E2-AA69-D02ABC7EDD76}" dt="2023-11-20T13:40:28.279" v="4902" actId="13926"/>
          <ac:spMkLst>
            <pc:docMk/>
            <pc:sldMk cId="2460064674" sldId="3019"/>
            <ac:spMk id="9" creationId="{C94F528E-E537-58A6-F67E-019D1F615D8D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20" creationId="{CAA967EC-BE77-5CC1-733F-092A4E567F1F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21" creationId="{ED95BE5F-AA1F-F882-28C9-5A70731E8EB9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22" creationId="{4B8A6FF5-4E46-A56B-07BE-F5B8CE2638E9}"/>
          </ac:spMkLst>
        </pc:spChg>
        <pc:spChg chg="mod">
          <ac:chgData name="Otavio Augusto Sabia Gava" userId="68ac195b-011b-467c-86d4-321df89323d0" providerId="ADAL" clId="{0C687AD9-2800-41E2-AA69-D02ABC7EDD76}" dt="2023-11-20T13:40:11.999" v="4900" actId="207"/>
          <ac:spMkLst>
            <pc:docMk/>
            <pc:sldMk cId="2460064674" sldId="3019"/>
            <ac:spMk id="24" creationId="{19317CB2-6776-AAAC-0B5D-C12E47885492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25" creationId="{3EF9A1C7-2AAA-FDF7-D59D-75BCFC78F306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28" creationId="{DD32FBD3-7DC2-B924-B58A-DF913696007F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29" creationId="{2C668C27-2752-68AF-9F5F-2BF7B88B2C11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30" creationId="{59695933-7A19-21C8-822B-00BBE261837A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31" creationId="{74162017-0F61-DA28-FF8C-53C9D8D9F9E1}"/>
          </ac:spMkLst>
        </pc:spChg>
        <pc:spChg chg="del">
          <ac:chgData name="Otavio Augusto Sabia Gava" userId="68ac195b-011b-467c-86d4-321df89323d0" providerId="ADAL" clId="{0C687AD9-2800-41E2-AA69-D02ABC7EDD76}" dt="2023-11-20T13:38:15.578" v="4881" actId="478"/>
          <ac:spMkLst>
            <pc:docMk/>
            <pc:sldMk cId="2460064674" sldId="3019"/>
            <ac:spMk id="35" creationId="{83B92F57-3EF6-B3C3-EE62-AC4743C7B32B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38" creationId="{DB69E4C5-C893-3A58-1AE9-D6332AB927F8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40" creationId="{E985372E-FD86-09B8-2D3B-3623753F841B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45" creationId="{E2844B45-5060-3800-B3B4-BEE4B6D7823F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51" creationId="{6B06994A-70C3-6DBF-E8AB-3208FF5A6306}"/>
          </ac:spMkLst>
        </pc:spChg>
        <pc:spChg chg="add mod">
          <ac:chgData name="Otavio Augusto Sabia Gava" userId="68ac195b-011b-467c-86d4-321df89323d0" providerId="ADAL" clId="{0C687AD9-2800-41E2-AA69-D02ABC7EDD76}" dt="2023-11-20T13:39:47.900" v="4898" actId="207"/>
          <ac:spMkLst>
            <pc:docMk/>
            <pc:sldMk cId="2460064674" sldId="3019"/>
            <ac:spMk id="54" creationId="{2A3C95F4-B2FB-994B-D2C9-8E8396D8859C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56" creationId="{DED73B5E-C676-8018-5598-79984A586F9C}"/>
          </ac:spMkLst>
        </pc:spChg>
        <pc:spChg chg="add mod">
          <ac:chgData name="Otavio Augusto Sabia Gava" userId="68ac195b-011b-467c-86d4-321df89323d0" providerId="ADAL" clId="{0C687AD9-2800-41E2-AA69-D02ABC7EDD76}" dt="2023-11-20T13:40:01.898" v="4899" actId="208"/>
          <ac:spMkLst>
            <pc:docMk/>
            <pc:sldMk cId="2460064674" sldId="3019"/>
            <ac:spMk id="62" creationId="{B5DBFF4C-CF5D-AD2E-E28C-5FB1164013F1}"/>
          </ac:spMkLst>
        </pc:spChg>
        <pc:spChg chg="mod">
          <ac:chgData name="Otavio Augusto Sabia Gava" userId="68ac195b-011b-467c-86d4-321df89323d0" providerId="ADAL" clId="{0C687AD9-2800-41E2-AA69-D02ABC7EDD76}" dt="2023-11-20T13:40:15.744" v="4901" actId="207"/>
          <ac:spMkLst>
            <pc:docMk/>
            <pc:sldMk cId="2460064674" sldId="3019"/>
            <ac:spMk id="67" creationId="{AFCA9C7B-C84C-77B7-2CEE-FF5D0524ABD3}"/>
          </ac:spMkLst>
        </pc:spChg>
        <pc:spChg chg="add del">
          <ac:chgData name="Otavio Augusto Sabia Gava" userId="68ac195b-011b-467c-86d4-321df89323d0" providerId="ADAL" clId="{0C687AD9-2800-41E2-AA69-D02ABC7EDD76}" dt="2023-11-20T13:38:13.276" v="4880" actId="478"/>
          <ac:spMkLst>
            <pc:docMk/>
            <pc:sldMk cId="2460064674" sldId="3019"/>
            <ac:spMk id="87" creationId="{758BBB6A-D762-2614-BAAE-DAF1C4F2B27A}"/>
          </ac:spMkLst>
        </pc:spChg>
        <pc:grpChg chg="add mod">
          <ac:chgData name="Otavio Augusto Sabia Gava" userId="68ac195b-011b-467c-86d4-321df89323d0" providerId="ADAL" clId="{0C687AD9-2800-41E2-AA69-D02ABC7EDD76}" dt="2023-11-20T13:39:41.638" v="4897" actId="207"/>
          <ac:grpSpMkLst>
            <pc:docMk/>
            <pc:sldMk cId="2460064674" sldId="3019"/>
            <ac:grpSpMk id="2" creationId="{B7667BB9-8488-2757-81F7-457BB99ADDA0}"/>
          </ac:grpSpMkLst>
        </pc:grpChg>
        <pc:grpChg chg="del">
          <ac:chgData name="Otavio Augusto Sabia Gava" userId="68ac195b-011b-467c-86d4-321df89323d0" providerId="ADAL" clId="{0C687AD9-2800-41E2-AA69-D02ABC7EDD76}" dt="2023-11-20T13:38:15.578" v="4881" actId="478"/>
          <ac:grpSpMkLst>
            <pc:docMk/>
            <pc:sldMk cId="2460064674" sldId="3019"/>
            <ac:grpSpMk id="4" creationId="{02FEB559-6647-4561-B762-4F3141D2E569}"/>
          </ac:grpSpMkLst>
        </pc:grpChg>
        <pc:grpChg chg="del">
          <ac:chgData name="Otavio Augusto Sabia Gava" userId="68ac195b-011b-467c-86d4-321df89323d0" providerId="ADAL" clId="{0C687AD9-2800-41E2-AA69-D02ABC7EDD76}" dt="2023-11-20T13:38:15.578" v="4881" actId="478"/>
          <ac:grpSpMkLst>
            <pc:docMk/>
            <pc:sldMk cId="2460064674" sldId="3019"/>
            <ac:grpSpMk id="10" creationId="{940004A6-6DEA-FD9F-4854-DA87AF74ED1D}"/>
          </ac:grpSpMkLst>
        </pc:grpChg>
        <pc:grpChg chg="add mod">
          <ac:chgData name="Otavio Augusto Sabia Gava" userId="68ac195b-011b-467c-86d4-321df89323d0" providerId="ADAL" clId="{0C687AD9-2800-41E2-AA69-D02ABC7EDD76}" dt="2023-11-20T13:40:11.999" v="4900" actId="207"/>
          <ac:grpSpMkLst>
            <pc:docMk/>
            <pc:sldMk cId="2460064674" sldId="3019"/>
            <ac:grpSpMk id="13" creationId="{857E4F56-0A95-0669-CAE5-E875392B435D}"/>
          </ac:grpSpMkLst>
        </pc:grpChg>
        <pc:grpChg chg="del">
          <ac:chgData name="Otavio Augusto Sabia Gava" userId="68ac195b-011b-467c-86d4-321df89323d0" providerId="ADAL" clId="{0C687AD9-2800-41E2-AA69-D02ABC7EDD76}" dt="2023-11-20T13:38:15.578" v="4881" actId="478"/>
          <ac:grpSpMkLst>
            <pc:docMk/>
            <pc:sldMk cId="2460064674" sldId="3019"/>
            <ac:grpSpMk id="14" creationId="{17069116-848D-0489-EB04-D6DB3F962841}"/>
          </ac:grpSpMkLst>
        </pc:grpChg>
        <pc:grpChg chg="del">
          <ac:chgData name="Otavio Augusto Sabia Gava" userId="68ac195b-011b-467c-86d4-321df89323d0" providerId="ADAL" clId="{0C687AD9-2800-41E2-AA69-D02ABC7EDD76}" dt="2023-11-20T13:38:15.578" v="4881" actId="478"/>
          <ac:grpSpMkLst>
            <pc:docMk/>
            <pc:sldMk cId="2460064674" sldId="3019"/>
            <ac:grpSpMk id="17" creationId="{05ACDCBC-1266-D844-49DA-A45EFBDF85A5}"/>
          </ac:grpSpMkLst>
        </pc:grpChg>
        <pc:grpChg chg="add mod">
          <ac:chgData name="Otavio Augusto Sabia Gava" userId="68ac195b-011b-467c-86d4-321df89323d0" providerId="ADAL" clId="{0C687AD9-2800-41E2-AA69-D02ABC7EDD76}" dt="2023-11-20T13:40:15.744" v="4901" actId="207"/>
          <ac:grpSpMkLst>
            <pc:docMk/>
            <pc:sldMk cId="2460064674" sldId="3019"/>
            <ac:grpSpMk id="65" creationId="{515A8D72-D489-596A-BF23-EEE08316C7C5}"/>
          </ac:grpSpMkLst>
        </pc:grpChg>
        <pc:picChg chg="mod">
          <ac:chgData name="Otavio Augusto Sabia Gava" userId="68ac195b-011b-467c-86d4-321df89323d0" providerId="ADAL" clId="{0C687AD9-2800-41E2-AA69-D02ABC7EDD76}" dt="2023-11-20T13:39:41.638" v="4897" actId="207"/>
          <ac:picMkLst>
            <pc:docMk/>
            <pc:sldMk cId="2460064674" sldId="3019"/>
            <ac:picMk id="7" creationId="{145C10D2-C745-7643-28B6-843B445728AB}"/>
          </ac:picMkLst>
        </pc:picChg>
        <pc:picChg chg="mod">
          <ac:chgData name="Otavio Augusto Sabia Gava" userId="68ac195b-011b-467c-86d4-321df89323d0" providerId="ADAL" clId="{0C687AD9-2800-41E2-AA69-D02ABC7EDD76}" dt="2023-11-20T13:40:11.999" v="4900" actId="207"/>
          <ac:picMkLst>
            <pc:docMk/>
            <pc:sldMk cId="2460064674" sldId="3019"/>
            <ac:picMk id="23" creationId="{0B96510E-10B0-1497-EE69-EE529640FF52}"/>
          </ac:picMkLst>
        </pc:picChg>
        <pc:picChg chg="del">
          <ac:chgData name="Otavio Augusto Sabia Gava" userId="68ac195b-011b-467c-86d4-321df89323d0" providerId="ADAL" clId="{0C687AD9-2800-41E2-AA69-D02ABC7EDD76}" dt="2023-11-20T13:38:15.578" v="4881" actId="478"/>
          <ac:picMkLst>
            <pc:docMk/>
            <pc:sldMk cId="2460064674" sldId="3019"/>
            <ac:picMk id="27" creationId="{A6560377-F9BC-8687-560E-5312632FC7AB}"/>
          </ac:picMkLst>
        </pc:picChg>
        <pc:picChg chg="del">
          <ac:chgData name="Otavio Augusto Sabia Gava" userId="68ac195b-011b-467c-86d4-321df89323d0" providerId="ADAL" clId="{0C687AD9-2800-41E2-AA69-D02ABC7EDD76}" dt="2023-11-20T13:38:15.578" v="4881" actId="478"/>
          <ac:picMkLst>
            <pc:docMk/>
            <pc:sldMk cId="2460064674" sldId="3019"/>
            <ac:picMk id="32" creationId="{B7ADEEB7-E847-F839-8309-D0ECD62F715D}"/>
          </ac:picMkLst>
        </pc:picChg>
        <pc:picChg chg="del">
          <ac:chgData name="Otavio Augusto Sabia Gava" userId="68ac195b-011b-467c-86d4-321df89323d0" providerId="ADAL" clId="{0C687AD9-2800-41E2-AA69-D02ABC7EDD76}" dt="2023-11-20T13:38:15.578" v="4881" actId="478"/>
          <ac:picMkLst>
            <pc:docMk/>
            <pc:sldMk cId="2460064674" sldId="3019"/>
            <ac:picMk id="33" creationId="{485BD91D-E7C1-407C-7544-7AC73303E2F8}"/>
          </ac:picMkLst>
        </pc:picChg>
        <pc:picChg chg="del">
          <ac:chgData name="Otavio Augusto Sabia Gava" userId="68ac195b-011b-467c-86d4-321df89323d0" providerId="ADAL" clId="{0C687AD9-2800-41E2-AA69-D02ABC7EDD76}" dt="2023-11-20T13:38:15.578" v="4881" actId="478"/>
          <ac:picMkLst>
            <pc:docMk/>
            <pc:sldMk cId="2460064674" sldId="3019"/>
            <ac:picMk id="34" creationId="{0F61F2E2-FC94-E640-7EBF-B019CF5BBF77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36" creationId="{D6619126-445B-E463-028C-E219D0A9F509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41" creationId="{89C925BA-7BBC-50BB-52D4-756F4DE44A21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42" creationId="{54EACB8F-0CF8-1597-5D75-D1B849EF695A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49" creationId="{E2D18E05-3269-276D-83F1-DE9BFAEEDE16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57" creationId="{59709516-FC97-331C-74C0-D2D069868834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59" creationId="{FB8399F3-BE3A-0539-094B-F2B1CC88A369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64" creationId="{53E91D38-3044-2066-015B-CA9D93A33B75}"/>
          </ac:picMkLst>
        </pc:picChg>
        <pc:picChg chg="mod">
          <ac:chgData name="Otavio Augusto Sabia Gava" userId="68ac195b-011b-467c-86d4-321df89323d0" providerId="ADAL" clId="{0C687AD9-2800-41E2-AA69-D02ABC7EDD76}" dt="2023-11-20T13:40:15.744" v="4901" actId="207"/>
          <ac:picMkLst>
            <pc:docMk/>
            <pc:sldMk cId="2460064674" sldId="3019"/>
            <ac:picMk id="66" creationId="{E14CA7B8-51DF-D1A1-B65B-E9356BE596F9}"/>
          </ac:picMkLst>
        </pc:picChg>
        <pc:picChg chg="add mod">
          <ac:chgData name="Otavio Augusto Sabia Gava" userId="68ac195b-011b-467c-86d4-321df89323d0" providerId="ADAL" clId="{0C687AD9-2800-41E2-AA69-D02ABC7EDD76}" dt="2023-11-20T13:38:20.776" v="4883" actId="1076"/>
          <ac:picMkLst>
            <pc:docMk/>
            <pc:sldMk cId="2460064674" sldId="3019"/>
            <ac:picMk id="70" creationId="{98446ECB-E0FA-FE1F-1970-496292776FDB}"/>
          </ac:picMkLst>
        </pc:picChg>
        <pc:picChg chg="add mod">
          <ac:chgData name="Otavio Augusto Sabia Gava" userId="68ac195b-011b-467c-86d4-321df89323d0" providerId="ADAL" clId="{0C687AD9-2800-41E2-AA69-D02ABC7EDD76}" dt="2023-11-21T18:27:48.993" v="16864"/>
          <ac:picMkLst>
            <pc:docMk/>
            <pc:sldMk cId="2460064674" sldId="3019"/>
            <ac:picMk id="73" creationId="{AE4640BD-09AD-CD51-8D73-D55EB6ADB3F1}"/>
          </ac:picMkLst>
        </pc:picChg>
        <pc:picChg chg="mod">
          <ac:chgData name="Otavio Augusto Sabia Gava" userId="68ac195b-011b-467c-86d4-321df89323d0" providerId="ADAL" clId="{0C687AD9-2800-41E2-AA69-D02ABC7EDD76}" dt="2023-11-20T13:40:46.104" v="4903"/>
          <ac:picMkLst>
            <pc:docMk/>
            <pc:sldMk cId="2460064674" sldId="3019"/>
            <ac:picMk id="90" creationId="{A307619D-7E7E-9AF2-AC93-1D1D7315D7E7}"/>
          </ac:picMkLst>
        </pc:pic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26" creationId="{67DEEEE0-D83F-2BC3-2BFC-024FB63A33AF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37" creationId="{6AC1C71E-DC6B-2685-81CD-C00259E4CEA3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39" creationId="{309646FC-0B5A-2C69-9971-D6BCD54300BE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43" creationId="{7DB5CAD2-FE2D-0535-354A-C36A9D37EC2A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44" creationId="{1AA6F98A-2BEA-B6BC-A49D-2CC0738543C7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46" creationId="{4CBF3436-1C9C-746B-1DD9-C2B888FD9449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47" creationId="{66244ED4-A691-8F1B-F3D8-1C9BDFEBB322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48" creationId="{4ACABEF3-2AF1-8708-A9D1-C50CF240C415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50" creationId="{FC4C0829-0F26-47FF-8C0A-B0D2747C817C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52" creationId="{3A5A12C4-C37A-4E2E-59AA-A2AA9D4C4481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53" creationId="{656A0930-3AAA-A0F7-438F-4F51E72DF7B4}"/>
          </ac:cxnSpMkLst>
        </pc:cxnChg>
        <pc:cxnChg chg="add mod">
          <ac:chgData name="Otavio Augusto Sabia Gava" userId="68ac195b-011b-467c-86d4-321df89323d0" providerId="ADAL" clId="{0C687AD9-2800-41E2-AA69-D02ABC7EDD76}" dt="2023-11-20T13:40:28.279" v="4902" actId="13926"/>
          <ac:cxnSpMkLst>
            <pc:docMk/>
            <pc:sldMk cId="2460064674" sldId="3019"/>
            <ac:cxnSpMk id="55" creationId="{22BC17CD-0D60-07DD-9E88-0DE481CC5A0B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58" creationId="{1B115969-F521-BD4C-6436-5D2E8902399A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60" creationId="{E9C9A890-31C9-D7C3-1725-9F7E0BEA8990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61" creationId="{B3C693B2-79B8-09B4-DBDC-A8F0003A5EE9}"/>
          </ac:cxnSpMkLst>
        </pc:cxnChg>
        <pc:cxnChg chg="add mod">
          <ac:chgData name="Otavio Augusto Sabia Gava" userId="68ac195b-011b-467c-86d4-321df89323d0" providerId="ADAL" clId="{0C687AD9-2800-41E2-AA69-D02ABC7EDD76}" dt="2023-11-20T13:39:13.602" v="4890" actId="1076"/>
          <ac:cxnSpMkLst>
            <pc:docMk/>
            <pc:sldMk cId="2460064674" sldId="3019"/>
            <ac:cxnSpMk id="63" creationId="{482A9C29-C737-C264-9A4C-707E6D02B5E8}"/>
          </ac:cxnSpMkLst>
        </pc:cxnChg>
        <pc:cxnChg chg="add mod">
          <ac:chgData name="Otavio Augusto Sabia Gava" userId="68ac195b-011b-467c-86d4-321df89323d0" providerId="ADAL" clId="{0C687AD9-2800-41E2-AA69-D02ABC7EDD76}" dt="2023-11-20T13:39:13.602" v="4890" actId="1076"/>
          <ac:cxnSpMkLst>
            <pc:docMk/>
            <pc:sldMk cId="2460064674" sldId="3019"/>
            <ac:cxnSpMk id="68" creationId="{448AE258-75A4-A497-EF62-EB2E4D2755E5}"/>
          </ac:cxnSpMkLst>
        </pc:cxnChg>
        <pc:cxnChg chg="add mod">
          <ac:chgData name="Otavio Augusto Sabia Gava" userId="68ac195b-011b-467c-86d4-321df89323d0" providerId="ADAL" clId="{0C687AD9-2800-41E2-AA69-D02ABC7EDD76}" dt="2023-11-20T13:38:20.776" v="4883" actId="1076"/>
          <ac:cxnSpMkLst>
            <pc:docMk/>
            <pc:sldMk cId="2460064674" sldId="3019"/>
            <ac:cxnSpMk id="69" creationId="{D468B46E-E699-A323-B2C2-98DDFD1A2195}"/>
          </ac:cxnSpMkLst>
        </pc:cxn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1914204330" sldId="3020"/>
        </pc:sldMkLst>
        <pc:spChg chg="add mod">
          <ac:chgData name="Otavio Augusto Sabia Gava" userId="68ac195b-011b-467c-86d4-321df89323d0" providerId="ADAL" clId="{0C687AD9-2800-41E2-AA69-D02ABC7EDD76}" dt="2023-11-20T14:05:08.725" v="5684" actId="1076"/>
          <ac:spMkLst>
            <pc:docMk/>
            <pc:sldMk cId="1914204330" sldId="3020"/>
            <ac:spMk id="3" creationId="{4CB52140-A36F-531F-C66B-84E89DE329B1}"/>
          </ac:spMkLst>
        </pc:spChg>
        <pc:spChg chg="mod">
          <ac:chgData name="Otavio Augusto Sabia Gava" userId="68ac195b-011b-467c-86d4-321df89323d0" providerId="ADAL" clId="{0C687AD9-2800-41E2-AA69-D02ABC7EDD76}" dt="2023-11-20T14:12:14.686" v="5789" actId="20577"/>
          <ac:spMkLst>
            <pc:docMk/>
            <pc:sldMk cId="1914204330" sldId="3020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0T14:09:43.693" v="5754" actId="207"/>
          <ac:spMkLst>
            <pc:docMk/>
            <pc:sldMk cId="1914204330" sldId="3020"/>
            <ac:spMk id="6" creationId="{8655FC85-B956-F24F-2E60-B9B581CA0F07}"/>
          </ac:spMkLst>
        </pc:spChg>
        <pc:spChg chg="add mod">
          <ac:chgData name="Otavio Augusto Sabia Gava" userId="68ac195b-011b-467c-86d4-321df89323d0" providerId="ADAL" clId="{0C687AD9-2800-41E2-AA69-D02ABC7EDD76}" dt="2023-11-20T14:10:39.435" v="5770" actId="207"/>
          <ac:spMkLst>
            <pc:docMk/>
            <pc:sldMk cId="1914204330" sldId="3020"/>
            <ac:spMk id="11" creationId="{1D06E59B-A791-C197-120D-CF5C5BB7C2E6}"/>
          </ac:spMkLst>
        </pc:spChg>
        <pc:spChg chg="add mod">
          <ac:chgData name="Otavio Augusto Sabia Gava" userId="68ac195b-011b-467c-86d4-321df89323d0" providerId="ADAL" clId="{0C687AD9-2800-41E2-AA69-D02ABC7EDD76}" dt="2023-11-20T14:10:44.500" v="5773" actId="403"/>
          <ac:spMkLst>
            <pc:docMk/>
            <pc:sldMk cId="1914204330" sldId="3020"/>
            <ac:spMk id="14" creationId="{51F3B548-E92D-FC3B-19AA-F3BFE070C70D}"/>
          </ac:spMkLst>
        </pc:spChg>
        <pc:spChg chg="add mod">
          <ac:chgData name="Otavio Augusto Sabia Gava" userId="68ac195b-011b-467c-86d4-321df89323d0" providerId="ADAL" clId="{0C687AD9-2800-41E2-AA69-D02ABC7EDD76}" dt="2023-11-20T14:05:46.672" v="5690" actId="208"/>
          <ac:spMkLst>
            <pc:docMk/>
            <pc:sldMk cId="1914204330" sldId="3020"/>
            <ac:spMk id="15" creationId="{82B701E8-F245-B658-B6EC-9DB6E74CBDD5}"/>
          </ac:spMkLst>
        </pc:spChg>
        <pc:spChg chg="add mod">
          <ac:chgData name="Otavio Augusto Sabia Gava" userId="68ac195b-011b-467c-86d4-321df89323d0" providerId="ADAL" clId="{0C687AD9-2800-41E2-AA69-D02ABC7EDD76}" dt="2023-11-20T14:05:46.672" v="5690" actId="208"/>
          <ac:spMkLst>
            <pc:docMk/>
            <pc:sldMk cId="1914204330" sldId="3020"/>
            <ac:spMk id="16" creationId="{C2129423-EEB7-77A3-B7ED-D9C35460C3F6}"/>
          </ac:spMkLst>
        </pc:spChg>
        <pc:spChg chg="add mod">
          <ac:chgData name="Otavio Augusto Sabia Gava" userId="68ac195b-011b-467c-86d4-321df89323d0" providerId="ADAL" clId="{0C687AD9-2800-41E2-AA69-D02ABC7EDD76}" dt="2023-11-20T14:10:56.526" v="5776" actId="1076"/>
          <ac:spMkLst>
            <pc:docMk/>
            <pc:sldMk cId="1914204330" sldId="3020"/>
            <ac:spMk id="17" creationId="{120CF6AC-7174-B7FF-DDC8-56F9EC8FD305}"/>
          </ac:spMkLst>
        </pc:spChg>
        <pc:spChg chg="add mod">
          <ac:chgData name="Otavio Augusto Sabia Gava" userId="68ac195b-011b-467c-86d4-321df89323d0" providerId="ADAL" clId="{0C687AD9-2800-41E2-AA69-D02ABC7EDD76}" dt="2023-11-20T14:10:51.376" v="5774" actId="1076"/>
          <ac:spMkLst>
            <pc:docMk/>
            <pc:sldMk cId="1914204330" sldId="3020"/>
            <ac:spMk id="18" creationId="{ACF200F0-5613-690F-EF7B-7C71428A1961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25" creationId="{3EF9A1C7-2AAA-FDF7-D59D-75BCFC78F306}"/>
          </ac:spMkLst>
        </pc:spChg>
        <pc:spChg chg="add mod">
          <ac:chgData name="Otavio Augusto Sabia Gava" userId="68ac195b-011b-467c-86d4-321df89323d0" providerId="ADAL" clId="{0C687AD9-2800-41E2-AA69-D02ABC7EDD76}" dt="2023-11-20T14:10:12.101" v="5760" actId="2711"/>
          <ac:spMkLst>
            <pc:docMk/>
            <pc:sldMk cId="1914204330" sldId="3020"/>
            <ac:spMk id="27" creationId="{B0362305-C1AB-F529-E180-D19FD99F3595}"/>
          </ac:spMkLst>
        </pc:spChg>
        <pc:spChg chg="add mod">
          <ac:chgData name="Otavio Augusto Sabia Gava" userId="68ac195b-011b-467c-86d4-321df89323d0" providerId="ADAL" clId="{0C687AD9-2800-41E2-AA69-D02ABC7EDD76}" dt="2023-11-20T14:16:34.729" v="5813" actId="1076"/>
          <ac:spMkLst>
            <pc:docMk/>
            <pc:sldMk cId="1914204330" sldId="3020"/>
            <ac:spMk id="28" creationId="{88272C08-C684-F3DF-1976-9B2FF98645F4}"/>
          </ac:spMkLst>
        </pc:spChg>
        <pc:spChg chg="add mod">
          <ac:chgData name="Otavio Augusto Sabia Gava" userId="68ac195b-011b-467c-86d4-321df89323d0" providerId="ADAL" clId="{0C687AD9-2800-41E2-AA69-D02ABC7EDD76}" dt="2023-11-20T14:16:43.423" v="5816" actId="1076"/>
          <ac:spMkLst>
            <pc:docMk/>
            <pc:sldMk cId="1914204330" sldId="3020"/>
            <ac:spMk id="29" creationId="{41AF48E9-94AA-141E-DFBC-6692E01855AE}"/>
          </ac:spMkLst>
        </pc:spChg>
        <pc:spChg chg="add mod">
          <ac:chgData name="Otavio Augusto Sabia Gava" userId="68ac195b-011b-467c-86d4-321df89323d0" providerId="ADAL" clId="{0C687AD9-2800-41E2-AA69-D02ABC7EDD76}" dt="2023-11-20T14:09:59.170" v="5755" actId="2711"/>
          <ac:spMkLst>
            <pc:docMk/>
            <pc:sldMk cId="1914204330" sldId="3020"/>
            <ac:spMk id="30" creationId="{C1637446-A78A-8094-ED0F-DF226F5C3EF7}"/>
          </ac:spMkLst>
        </pc:spChg>
        <pc:spChg chg="add mod">
          <ac:chgData name="Otavio Augusto Sabia Gava" userId="68ac195b-011b-467c-86d4-321df89323d0" providerId="ADAL" clId="{0C687AD9-2800-41E2-AA69-D02ABC7EDD76}" dt="2023-11-20T14:10:16.558" v="5761" actId="2711"/>
          <ac:spMkLst>
            <pc:docMk/>
            <pc:sldMk cId="1914204330" sldId="3020"/>
            <ac:spMk id="33" creationId="{44C1CF72-2E8B-8DF2-1724-098F6BEBBD0E}"/>
          </ac:spMkLst>
        </pc:spChg>
        <pc:spChg chg="add mod">
          <ac:chgData name="Otavio Augusto Sabia Gava" userId="68ac195b-011b-467c-86d4-321df89323d0" providerId="ADAL" clId="{0C687AD9-2800-41E2-AA69-D02ABC7EDD76}" dt="2023-11-20T14:05:08.725" v="5684" actId="1076"/>
          <ac:spMkLst>
            <pc:docMk/>
            <pc:sldMk cId="1914204330" sldId="3020"/>
            <ac:spMk id="34" creationId="{168B176E-86B3-1A8E-8F08-5E9DC580AB85}"/>
          </ac:spMkLst>
        </pc:spChg>
        <pc:spChg chg="add mod">
          <ac:chgData name="Otavio Augusto Sabia Gava" userId="68ac195b-011b-467c-86d4-321df89323d0" providerId="ADAL" clId="{0C687AD9-2800-41E2-AA69-D02ABC7EDD76}" dt="2023-11-20T14:05:08.725" v="5684" actId="1076"/>
          <ac:spMkLst>
            <pc:docMk/>
            <pc:sldMk cId="1914204330" sldId="3020"/>
            <ac:spMk id="35" creationId="{255FF1A0-4C27-6E21-D296-4FF322B4BF34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38" creationId="{DB69E4C5-C893-3A58-1AE9-D6332AB927F8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40" creationId="{E985372E-FD86-09B8-2D3B-3623753F841B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45" creationId="{E2844B45-5060-3800-B3B4-BEE4B6D7823F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51" creationId="{6B06994A-70C3-6DBF-E8AB-3208FF5A6306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54" creationId="{2A3C95F4-B2FB-994B-D2C9-8E8396D8859C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56" creationId="{DED73B5E-C676-8018-5598-79984A586F9C}"/>
          </ac:spMkLst>
        </pc:spChg>
        <pc:spChg chg="add del">
          <ac:chgData name="Otavio Augusto Sabia Gava" userId="68ac195b-011b-467c-86d4-321df89323d0" providerId="ADAL" clId="{0C687AD9-2800-41E2-AA69-D02ABC7EDD76}" dt="2023-11-20T14:04:48.625" v="5682" actId="478"/>
          <ac:spMkLst>
            <pc:docMk/>
            <pc:sldMk cId="1914204330" sldId="3020"/>
            <ac:spMk id="62" creationId="{B5DBFF4C-CF5D-AD2E-E28C-5FB1164013F1}"/>
          </ac:spMkLst>
        </pc:spChg>
        <pc:spChg chg="add mod">
          <ac:chgData name="Otavio Augusto Sabia Gava" userId="68ac195b-011b-467c-86d4-321df89323d0" providerId="ADAL" clId="{0C687AD9-2800-41E2-AA69-D02ABC7EDD76}" dt="2023-11-20T14:09:39.407" v="5752" actId="207"/>
          <ac:spMkLst>
            <pc:docMk/>
            <pc:sldMk cId="1914204330" sldId="3020"/>
            <ac:spMk id="73" creationId="{D87C114A-A1DA-8E8D-0D8A-99D4AD083ADD}"/>
          </ac:spMkLst>
        </pc:spChg>
        <pc:spChg chg="add mod">
          <ac:chgData name="Otavio Augusto Sabia Gava" userId="68ac195b-011b-467c-86d4-321df89323d0" providerId="ADAL" clId="{0C687AD9-2800-41E2-AA69-D02ABC7EDD76}" dt="2023-11-20T14:07:27.221" v="5710" actId="1076"/>
          <ac:spMkLst>
            <pc:docMk/>
            <pc:sldMk cId="1914204330" sldId="3020"/>
            <ac:spMk id="76" creationId="{7E484B2E-10B0-F8E6-C68B-B92FDD67A405}"/>
          </ac:spMkLst>
        </pc:spChg>
        <pc:spChg chg="add mod">
          <ac:chgData name="Otavio Augusto Sabia Gava" userId="68ac195b-011b-467c-86d4-321df89323d0" providerId="ADAL" clId="{0C687AD9-2800-41E2-AA69-D02ABC7EDD76}" dt="2023-11-20T14:17:23.839" v="5849" actId="1038"/>
          <ac:spMkLst>
            <pc:docMk/>
            <pc:sldMk cId="1914204330" sldId="3020"/>
            <ac:spMk id="77" creationId="{618CCB41-812D-022C-FDEA-B2534CAE8D5B}"/>
          </ac:spMkLst>
        </pc:spChg>
        <pc:spChg chg="add mod">
          <ac:chgData name="Otavio Augusto Sabia Gava" userId="68ac195b-011b-467c-86d4-321df89323d0" providerId="ADAL" clId="{0C687AD9-2800-41E2-AA69-D02ABC7EDD76}" dt="2023-11-20T14:17:27.917" v="5861" actId="1038"/>
          <ac:spMkLst>
            <pc:docMk/>
            <pc:sldMk cId="1914204330" sldId="3020"/>
            <ac:spMk id="81" creationId="{84DE5D01-8E0C-3E24-A3BF-7FF9662F0675}"/>
          </ac:spMkLst>
        </pc:spChg>
        <pc:spChg chg="add mod">
          <ac:chgData name="Otavio Augusto Sabia Gava" userId="68ac195b-011b-467c-86d4-321df89323d0" providerId="ADAL" clId="{0C687AD9-2800-41E2-AA69-D02ABC7EDD76}" dt="2023-11-20T14:17:31.295" v="5869" actId="1037"/>
          <ac:spMkLst>
            <pc:docMk/>
            <pc:sldMk cId="1914204330" sldId="3020"/>
            <ac:spMk id="83" creationId="{9FCA0BF4-61BE-C926-2CEF-83D1E5156D7E}"/>
          </ac:spMkLst>
        </pc:spChg>
        <pc:spChg chg="add mod">
          <ac:chgData name="Otavio Augusto Sabia Gava" userId="68ac195b-011b-467c-86d4-321df89323d0" providerId="ADAL" clId="{0C687AD9-2800-41E2-AA69-D02ABC7EDD76}" dt="2023-11-20T14:17:04.002" v="5827" actId="1076"/>
          <ac:spMkLst>
            <pc:docMk/>
            <pc:sldMk cId="1914204330" sldId="3020"/>
            <ac:spMk id="84" creationId="{76DA5ED1-C6C5-7B17-8EA8-08DD15951271}"/>
          </ac:spMkLst>
        </pc:spChg>
        <pc:spChg chg="add mod">
          <ac:chgData name="Otavio Augusto Sabia Gava" userId="68ac195b-011b-467c-86d4-321df89323d0" providerId="ADAL" clId="{0C687AD9-2800-41E2-AA69-D02ABC7EDD76}" dt="2023-11-20T14:08:12.954" v="5728" actId="1076"/>
          <ac:spMkLst>
            <pc:docMk/>
            <pc:sldMk cId="1914204330" sldId="3020"/>
            <ac:spMk id="87" creationId="{978DB6F8-2503-5B3A-C0B9-8390592BEB3B}"/>
          </ac:spMkLst>
        </pc:spChg>
        <pc:spChg chg="add mod">
          <ac:chgData name="Otavio Augusto Sabia Gava" userId="68ac195b-011b-467c-86d4-321df89323d0" providerId="ADAL" clId="{0C687AD9-2800-41E2-AA69-D02ABC7EDD76}" dt="2023-11-20T14:17:14.128" v="5834" actId="1035"/>
          <ac:spMkLst>
            <pc:docMk/>
            <pc:sldMk cId="1914204330" sldId="3020"/>
            <ac:spMk id="89" creationId="{2D8FFBA5-306F-BE4D-F1C9-A1D56951E4B5}"/>
          </ac:spMkLst>
        </pc:spChg>
        <pc:spChg chg="add mod">
          <ac:chgData name="Otavio Augusto Sabia Gava" userId="68ac195b-011b-467c-86d4-321df89323d0" providerId="ADAL" clId="{0C687AD9-2800-41E2-AA69-D02ABC7EDD76}" dt="2023-11-20T14:08:22.835" v="5732" actId="1076"/>
          <ac:spMkLst>
            <pc:docMk/>
            <pc:sldMk cId="1914204330" sldId="3020"/>
            <ac:spMk id="92" creationId="{24ADCA77-06F2-4FC5-1A0C-3600F7CFAD0E}"/>
          </ac:spMkLst>
        </pc:spChg>
        <pc:spChg chg="add mod">
          <ac:chgData name="Otavio Augusto Sabia Gava" userId="68ac195b-011b-467c-86d4-321df89323d0" providerId="ADAL" clId="{0C687AD9-2800-41E2-AA69-D02ABC7EDD76}" dt="2023-11-20T14:05:55.518" v="5691" actId="208"/>
          <ac:spMkLst>
            <pc:docMk/>
            <pc:sldMk cId="1914204330" sldId="3020"/>
            <ac:spMk id="93" creationId="{5D5A780F-CF67-8537-7107-6455D887CDB0}"/>
          </ac:spMkLst>
        </pc:spChg>
        <pc:spChg chg="add mod">
          <ac:chgData name="Otavio Augusto Sabia Gava" userId="68ac195b-011b-467c-86d4-321df89323d0" providerId="ADAL" clId="{0C687AD9-2800-41E2-AA69-D02ABC7EDD76}" dt="2023-11-20T14:06:09.425" v="5692" actId="208"/>
          <ac:spMkLst>
            <pc:docMk/>
            <pc:sldMk cId="1914204330" sldId="3020"/>
            <ac:spMk id="94" creationId="{FA362115-ACC7-840C-3774-81A920F57A31}"/>
          </ac:spMkLst>
        </pc:spChg>
        <pc:spChg chg="add mod">
          <ac:chgData name="Otavio Augusto Sabia Gava" userId="68ac195b-011b-467c-86d4-321df89323d0" providerId="ADAL" clId="{0C687AD9-2800-41E2-AA69-D02ABC7EDD76}" dt="2023-11-20T14:06:28.055" v="5696" actId="207"/>
          <ac:spMkLst>
            <pc:docMk/>
            <pc:sldMk cId="1914204330" sldId="3020"/>
            <ac:spMk id="95" creationId="{9631AA52-5FDC-837B-FF08-1BC1B9ACDF93}"/>
          </ac:spMkLst>
        </pc:spChg>
        <pc:spChg chg="add mod">
          <ac:chgData name="Otavio Augusto Sabia Gava" userId="68ac195b-011b-467c-86d4-321df89323d0" providerId="ADAL" clId="{0C687AD9-2800-41E2-AA69-D02ABC7EDD76}" dt="2023-11-20T14:06:15.720" v="5693" actId="207"/>
          <ac:spMkLst>
            <pc:docMk/>
            <pc:sldMk cId="1914204330" sldId="3020"/>
            <ac:spMk id="96" creationId="{808870AF-C668-2488-9F60-E4D914345E84}"/>
          </ac:spMkLst>
        </pc:spChg>
        <pc:spChg chg="add mod">
          <ac:chgData name="Otavio Augusto Sabia Gava" userId="68ac195b-011b-467c-86d4-321df89323d0" providerId="ADAL" clId="{0C687AD9-2800-41E2-AA69-D02ABC7EDD76}" dt="2023-11-20T14:07:02.787" v="5706" actId="113"/>
          <ac:spMkLst>
            <pc:docMk/>
            <pc:sldMk cId="1914204330" sldId="3020"/>
            <ac:spMk id="97" creationId="{C1A062EC-B6ED-3E72-93B1-1A744D40B029}"/>
          </ac:spMkLst>
        </pc:spChg>
        <pc:spChg chg="add mod">
          <ac:chgData name="Otavio Augusto Sabia Gava" userId="68ac195b-011b-467c-86d4-321df89323d0" providerId="ADAL" clId="{0C687AD9-2800-41E2-AA69-D02ABC7EDD76}" dt="2023-11-20T14:06:53.381" v="5703" actId="207"/>
          <ac:spMkLst>
            <pc:docMk/>
            <pc:sldMk cId="1914204330" sldId="3020"/>
            <ac:spMk id="98" creationId="{51AE81F6-AE2C-47FD-2BDA-E13227FE6DA4}"/>
          </ac:spMkLst>
        </pc:spChg>
        <pc:spChg chg="add mod">
          <ac:chgData name="Otavio Augusto Sabia Gava" userId="68ac195b-011b-467c-86d4-321df89323d0" providerId="ADAL" clId="{0C687AD9-2800-41E2-AA69-D02ABC7EDD76}" dt="2023-11-20T14:09:19.521" v="5747" actId="207"/>
          <ac:spMkLst>
            <pc:docMk/>
            <pc:sldMk cId="1914204330" sldId="3020"/>
            <ac:spMk id="99" creationId="{54606B88-5F51-6494-ED30-DDEF2304E5B2}"/>
          </ac:spMkLst>
        </pc:spChg>
        <pc:spChg chg="add mod">
          <ac:chgData name="Otavio Augusto Sabia Gava" userId="68ac195b-011b-467c-86d4-321df89323d0" providerId="ADAL" clId="{0C687AD9-2800-41E2-AA69-D02ABC7EDD76}" dt="2023-11-20T14:09:23.398" v="5748" actId="207"/>
          <ac:spMkLst>
            <pc:docMk/>
            <pc:sldMk cId="1914204330" sldId="3020"/>
            <ac:spMk id="100" creationId="{F9737766-35C1-67DB-FE73-527DE171BA34}"/>
          </ac:spMkLst>
        </pc:spChg>
        <pc:spChg chg="add mod">
          <ac:chgData name="Otavio Augusto Sabia Gava" userId="68ac195b-011b-467c-86d4-321df89323d0" providerId="ADAL" clId="{0C687AD9-2800-41E2-AA69-D02ABC7EDD76}" dt="2023-11-20T14:09:06.339" v="5745" actId="20577"/>
          <ac:spMkLst>
            <pc:docMk/>
            <pc:sldMk cId="1914204330" sldId="3020"/>
            <ac:spMk id="104" creationId="{8DFA7729-C1FE-82AB-8F5D-62133E74E5A7}"/>
          </ac:spMkLst>
        </pc:spChg>
        <pc:spChg chg="add del">
          <ac:chgData name="Otavio Augusto Sabia Gava" userId="68ac195b-011b-467c-86d4-321df89323d0" providerId="ADAL" clId="{0C687AD9-2800-41E2-AA69-D02ABC7EDD76}" dt="2023-11-20T14:13:40.255" v="5794" actId="478"/>
          <ac:spMkLst>
            <pc:docMk/>
            <pc:sldMk cId="1914204330" sldId="3020"/>
            <ac:spMk id="105" creationId="{D1B5613A-FC8E-2899-5FE7-678B3EDDD82D}"/>
          </ac:spMkLst>
        </pc:spChg>
        <pc:spChg chg="add del mod">
          <ac:chgData name="Otavio Augusto Sabia Gava" userId="68ac195b-011b-467c-86d4-321df89323d0" providerId="ADAL" clId="{0C687AD9-2800-41E2-AA69-D02ABC7EDD76}" dt="2023-11-20T14:13:38.227" v="5793" actId="478"/>
          <ac:spMkLst>
            <pc:docMk/>
            <pc:sldMk cId="1914204330" sldId="3020"/>
            <ac:spMk id="106" creationId="{9FEF3F9E-9955-5329-8B2F-49592AFE38E3}"/>
          </ac:spMkLst>
        </pc:spChg>
        <pc:spChg chg="add del mod">
          <ac:chgData name="Otavio Augusto Sabia Gava" userId="68ac195b-011b-467c-86d4-321df89323d0" providerId="ADAL" clId="{0C687AD9-2800-41E2-AA69-D02ABC7EDD76}" dt="2023-11-20T14:13:38.227" v="5793" actId="478"/>
          <ac:spMkLst>
            <pc:docMk/>
            <pc:sldMk cId="1914204330" sldId="3020"/>
            <ac:spMk id="107" creationId="{1E934A94-BB0E-9950-68BC-E123CD2ECA65}"/>
          </ac:spMkLst>
        </pc:spChg>
        <pc:grpChg chg="add del">
          <ac:chgData name="Otavio Augusto Sabia Gava" userId="68ac195b-011b-467c-86d4-321df89323d0" providerId="ADAL" clId="{0C687AD9-2800-41E2-AA69-D02ABC7EDD76}" dt="2023-11-20T14:04:48.625" v="5682" actId="478"/>
          <ac:grpSpMkLst>
            <pc:docMk/>
            <pc:sldMk cId="1914204330" sldId="3020"/>
            <ac:grpSpMk id="2" creationId="{B7667BB9-8488-2757-81F7-457BB99ADDA0}"/>
          </ac:grpSpMkLst>
        </pc:grpChg>
        <pc:grpChg chg="add del">
          <ac:chgData name="Otavio Augusto Sabia Gava" userId="68ac195b-011b-467c-86d4-321df89323d0" providerId="ADAL" clId="{0C687AD9-2800-41E2-AA69-D02ABC7EDD76}" dt="2023-11-20T14:04:48.625" v="5682" actId="478"/>
          <ac:grpSpMkLst>
            <pc:docMk/>
            <pc:sldMk cId="1914204330" sldId="3020"/>
            <ac:grpSpMk id="13" creationId="{857E4F56-0A95-0669-CAE5-E875392B435D}"/>
          </ac:grpSpMkLst>
        </pc:grpChg>
        <pc:grpChg chg="add del">
          <ac:chgData name="Otavio Augusto Sabia Gava" userId="68ac195b-011b-467c-86d4-321df89323d0" providerId="ADAL" clId="{0C687AD9-2800-41E2-AA69-D02ABC7EDD76}" dt="2023-11-20T14:04:48.625" v="5682" actId="478"/>
          <ac:grpSpMkLst>
            <pc:docMk/>
            <pc:sldMk cId="1914204330" sldId="3020"/>
            <ac:grpSpMk id="65" creationId="{515A8D72-D489-596A-BF23-EEE08316C7C5}"/>
          </ac:grpSpMkLst>
        </pc:grpChg>
        <pc:picChg chg="add mod">
          <ac:chgData name="Otavio Augusto Sabia Gava" userId="68ac195b-011b-467c-86d4-321df89323d0" providerId="ADAL" clId="{0C687AD9-2800-41E2-AA69-D02ABC7EDD76}" dt="2023-11-20T14:05:13.739" v="5685" actId="207"/>
          <ac:picMkLst>
            <pc:docMk/>
            <pc:sldMk cId="1914204330" sldId="3020"/>
            <ac:picMk id="4" creationId="{6A456A13-97D0-AAE6-C115-B03ABA51B499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10" creationId="{77A5987F-FDCD-00A6-B63C-C43F5AEFBD9E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12" creationId="{323B14C6-178A-851B-D637-7D26E7750F84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19" creationId="{5B30B37C-BEF8-AF61-1901-5FB4AFF01A7E}"/>
          </ac:picMkLst>
        </pc:picChg>
        <pc:picChg chg="add del mod">
          <ac:chgData name="Otavio Augusto Sabia Gava" userId="68ac195b-011b-467c-86d4-321df89323d0" providerId="ADAL" clId="{0C687AD9-2800-41E2-AA69-D02ABC7EDD76}" dt="2023-11-20T14:16:28.555" v="5808" actId="478"/>
          <ac:picMkLst>
            <pc:docMk/>
            <pc:sldMk cId="1914204330" sldId="3020"/>
            <ac:picMk id="20" creationId="{0DFCB92F-77CD-19FD-4AED-DF3E45B9CF33}"/>
          </ac:picMkLst>
        </pc:picChg>
        <pc:picChg chg="add mod">
          <ac:chgData name="Otavio Augusto Sabia Gava" userId="68ac195b-011b-467c-86d4-321df89323d0" providerId="ADAL" clId="{0C687AD9-2800-41E2-AA69-D02ABC7EDD76}" dt="2023-11-20T14:16:41.197" v="5815" actId="1076"/>
          <ac:picMkLst>
            <pc:docMk/>
            <pc:sldMk cId="1914204330" sldId="3020"/>
            <ac:picMk id="21" creationId="{AB3BC4BC-F2A7-0E59-69BA-3E89B396FF0F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22" creationId="{E4420158-584C-E638-9771-2CF973203532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31" creationId="{DBFD04C0-406E-F46D-C6DC-A4A3DDB8505B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36" creationId="{D6619126-445B-E463-028C-E219D0A9F509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41" creationId="{89C925BA-7BBC-50BB-52D4-756F4DE44A21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42" creationId="{54EACB8F-0CF8-1597-5D75-D1B849EF695A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49" creationId="{E2D18E05-3269-276D-83F1-DE9BFAEEDE16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57" creationId="{59709516-FC97-331C-74C0-D2D069868834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59" creationId="{FB8399F3-BE3A-0539-094B-F2B1CC88A369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64" creationId="{53E91D38-3044-2066-015B-CA9D93A33B75}"/>
          </ac:picMkLst>
        </pc:picChg>
        <pc:picChg chg="add del">
          <ac:chgData name="Otavio Augusto Sabia Gava" userId="68ac195b-011b-467c-86d4-321df89323d0" providerId="ADAL" clId="{0C687AD9-2800-41E2-AA69-D02ABC7EDD76}" dt="2023-11-20T14:04:48.625" v="5682" actId="478"/>
          <ac:picMkLst>
            <pc:docMk/>
            <pc:sldMk cId="1914204330" sldId="3020"/>
            <ac:picMk id="70" creationId="{98446ECB-E0FA-FE1F-1970-496292776FDB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71" creationId="{674C35A8-A02F-8096-73FE-FB75533B12EF}"/>
          </ac:picMkLst>
        </pc:picChg>
        <pc:picChg chg="add mod">
          <ac:chgData name="Otavio Augusto Sabia Gava" userId="68ac195b-011b-467c-86d4-321df89323d0" providerId="ADAL" clId="{0C687AD9-2800-41E2-AA69-D02ABC7EDD76}" dt="2023-11-20T14:05:27.447" v="5688" actId="207"/>
          <ac:picMkLst>
            <pc:docMk/>
            <pc:sldMk cId="1914204330" sldId="3020"/>
            <ac:picMk id="72" creationId="{E469EAA6-1FD7-EED0-BE82-862F5FDE5969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78" creationId="{EDD77052-67C1-613E-CA28-075EAEBDE12C}"/>
          </ac:picMkLst>
        </pc:picChg>
        <pc:picChg chg="add mod">
          <ac:chgData name="Otavio Augusto Sabia Gava" userId="68ac195b-011b-467c-86d4-321df89323d0" providerId="ADAL" clId="{0C687AD9-2800-41E2-AA69-D02ABC7EDD76}" dt="2023-11-20T14:17:01.487" v="5826" actId="1076"/>
          <ac:picMkLst>
            <pc:docMk/>
            <pc:sldMk cId="1914204330" sldId="3020"/>
            <ac:picMk id="82" creationId="{A8A26AA8-D173-6DB7-E2D9-77BD9416A769}"/>
          </ac:picMkLst>
        </pc:picChg>
        <pc:picChg chg="add mod">
          <ac:chgData name="Otavio Augusto Sabia Gava" userId="68ac195b-011b-467c-86d4-321df89323d0" providerId="ADAL" clId="{0C687AD9-2800-41E2-AA69-D02ABC7EDD76}" dt="2023-11-20T14:05:08.725" v="5684" actId="1076"/>
          <ac:picMkLst>
            <pc:docMk/>
            <pc:sldMk cId="1914204330" sldId="3020"/>
            <ac:picMk id="85" creationId="{2602D2DD-C454-C808-9DC2-61FDC3F2FBC1}"/>
          </ac:picMkLst>
        </pc:picChg>
        <pc:picChg chg="add mod">
          <ac:chgData name="Otavio Augusto Sabia Gava" userId="68ac195b-011b-467c-86d4-321df89323d0" providerId="ADAL" clId="{0C687AD9-2800-41E2-AA69-D02ABC7EDD76}" dt="2023-11-20T14:17:11.622" v="5828" actId="1076"/>
          <ac:picMkLst>
            <pc:docMk/>
            <pc:sldMk cId="1914204330" sldId="3020"/>
            <ac:picMk id="88" creationId="{E0465F98-23AA-3ED7-8891-23BFD30D3FC5}"/>
          </ac:picMkLst>
        </pc:picChg>
        <pc:picChg chg="add del mod">
          <ac:chgData name="Otavio Augusto Sabia Gava" userId="68ac195b-011b-467c-86d4-321df89323d0" providerId="ADAL" clId="{0C687AD9-2800-41E2-AA69-D02ABC7EDD76}" dt="2023-11-28T19:47:29.749" v="21756"/>
          <ac:picMkLst>
            <pc:docMk/>
            <pc:sldMk cId="1914204330" sldId="3020"/>
            <ac:picMk id="90" creationId="{A307619D-7E7E-9AF2-AC93-1D1D7315D7E7}"/>
          </ac:picMkLst>
        </pc:picChg>
        <pc:picChg chg="add del mod">
          <ac:chgData name="Otavio Augusto Sabia Gava" userId="68ac195b-011b-467c-86d4-321df89323d0" providerId="ADAL" clId="{0C687AD9-2800-41E2-AA69-D02ABC7EDD76}" dt="2023-11-20T14:15:57.884" v="5805" actId="478"/>
          <ac:picMkLst>
            <pc:docMk/>
            <pc:sldMk cId="1914204330" sldId="3020"/>
            <ac:picMk id="101" creationId="{673F8F18-CB7E-300E-A083-0D8E1AAA7F85}"/>
          </ac:picMkLst>
        </pc:picChg>
        <pc:picChg chg="add del mod">
          <ac:chgData name="Otavio Augusto Sabia Gava" userId="68ac195b-011b-467c-86d4-321df89323d0" providerId="ADAL" clId="{0C687AD9-2800-41E2-AA69-D02ABC7EDD76}" dt="2023-11-20T14:11:27.641" v="5777" actId="478"/>
          <ac:picMkLst>
            <pc:docMk/>
            <pc:sldMk cId="1914204330" sldId="3020"/>
            <ac:picMk id="102" creationId="{A4394B6F-003B-CE4D-41CB-4DBFD370F75E}"/>
          </ac:picMkLst>
        </pc:picChg>
        <pc:picChg chg="add del mod">
          <ac:chgData name="Otavio Augusto Sabia Gava" userId="68ac195b-011b-467c-86d4-321df89323d0" providerId="ADAL" clId="{0C687AD9-2800-41E2-AA69-D02ABC7EDD76}" dt="2023-11-20T14:15:45.606" v="5802" actId="478"/>
          <ac:picMkLst>
            <pc:docMk/>
            <pc:sldMk cId="1914204330" sldId="3020"/>
            <ac:picMk id="103" creationId="{4D447C10-4816-63E1-5619-EE7879F295F1}"/>
          </ac:picMkLst>
        </pc:picChg>
        <pc:picChg chg="add mod">
          <ac:chgData name="Otavio Augusto Sabia Gava" userId="68ac195b-011b-467c-86d4-321df89323d0" providerId="ADAL" clId="{0C687AD9-2800-41E2-AA69-D02ABC7EDD76}" dt="2023-11-20T14:15:54.204" v="5804" actId="1076"/>
          <ac:picMkLst>
            <pc:docMk/>
            <pc:sldMk cId="1914204330" sldId="3020"/>
            <ac:picMk id="108" creationId="{11ED23A3-87B0-1ED7-F86B-3514DDE35D68}"/>
          </ac:picMkLst>
        </pc:picChg>
        <pc:picChg chg="add mod">
          <ac:chgData name="Otavio Augusto Sabia Gava" userId="68ac195b-011b-467c-86d4-321df89323d0" providerId="ADAL" clId="{0C687AD9-2800-41E2-AA69-D02ABC7EDD76}" dt="2023-11-20T14:16:03.685" v="5807" actId="1076"/>
          <ac:picMkLst>
            <pc:docMk/>
            <pc:sldMk cId="1914204330" sldId="3020"/>
            <ac:picMk id="109" creationId="{A105E3C1-BAB9-5843-8524-5F8A15ED7E98}"/>
          </ac:picMkLst>
        </pc:picChg>
        <pc:picChg chg="add del">
          <ac:chgData name="Otavio Augusto Sabia Gava" userId="68ac195b-011b-467c-86d4-321df89323d0" providerId="ADAL" clId="{0C687AD9-2800-41E2-AA69-D02ABC7EDD76}" dt="2023-11-20T14:11:29.204" v="5779"/>
          <ac:picMkLst>
            <pc:docMk/>
            <pc:sldMk cId="1914204330" sldId="3020"/>
            <ac:picMk id="17410" creationId="{1A38FEE1-7166-ACDF-DB17-73D0FB6A8FD9}"/>
          </ac:picMkLst>
        </pc:picChg>
        <pc:picChg chg="add del">
          <ac:chgData name="Otavio Augusto Sabia Gava" userId="68ac195b-011b-467c-86d4-321df89323d0" providerId="ADAL" clId="{0C687AD9-2800-41E2-AA69-D02ABC7EDD76}" dt="2023-11-20T14:11:34.841" v="5781"/>
          <ac:picMkLst>
            <pc:docMk/>
            <pc:sldMk cId="1914204330" sldId="3020"/>
            <ac:picMk id="17412" creationId="{7EC01D4C-449F-C39A-FE6C-CF6FB81D7710}"/>
          </ac:picMkLst>
        </pc:picChg>
        <pc:picChg chg="add del">
          <ac:chgData name="Otavio Augusto Sabia Gava" userId="68ac195b-011b-467c-86d4-321df89323d0" providerId="ADAL" clId="{0C687AD9-2800-41E2-AA69-D02ABC7EDD76}" dt="2023-11-20T14:11:41.713" v="5783"/>
          <ac:picMkLst>
            <pc:docMk/>
            <pc:sldMk cId="1914204330" sldId="3020"/>
            <ac:picMk id="17414" creationId="{D3372C26-66CA-A659-24C9-62F995FA88B4}"/>
          </ac:picMkLst>
        </pc:picChg>
        <pc:picChg chg="add del">
          <ac:chgData name="Otavio Augusto Sabia Gava" userId="68ac195b-011b-467c-86d4-321df89323d0" providerId="ADAL" clId="{0C687AD9-2800-41E2-AA69-D02ABC7EDD76}" dt="2023-11-20T14:14:47.958" v="5796" actId="478"/>
          <ac:picMkLst>
            <pc:docMk/>
            <pc:sldMk cId="1914204330" sldId="3020"/>
            <ac:picMk id="17422" creationId="{CD102B90-5874-0C6E-C119-CC914BF18535}"/>
          </ac:picMkLst>
        </pc:picChg>
        <pc:picChg chg="add mod">
          <ac:chgData name="Otavio Augusto Sabia Gava" userId="68ac195b-011b-467c-86d4-321df89323d0" providerId="ADAL" clId="{0C687AD9-2800-41E2-AA69-D02ABC7EDD76}" dt="2023-11-20T14:15:44.309" v="5801" actId="1076"/>
          <ac:picMkLst>
            <pc:docMk/>
            <pc:sldMk cId="1914204330" sldId="3020"/>
            <ac:picMk id="17424" creationId="{5A91893E-C5E1-3A37-E8DC-2C7D6D0AE227}"/>
          </ac:picMkLst>
        </pc:picChg>
        <pc:picChg chg="add mod">
          <ac:chgData name="Otavio Augusto Sabia Gava" userId="68ac195b-011b-467c-86d4-321df89323d0" providerId="ADAL" clId="{0C687AD9-2800-41E2-AA69-D02ABC7EDD76}" dt="2023-11-20T14:16:37.552" v="5814" actId="1076"/>
          <ac:picMkLst>
            <pc:docMk/>
            <pc:sldMk cId="1914204330" sldId="3020"/>
            <ac:picMk id="17426" creationId="{7EF55B37-DA4E-D732-D525-0A6526546433}"/>
          </ac:picMkLst>
        </pc:picChg>
        <pc:cxnChg chg="add mod">
          <ac:chgData name="Otavio Augusto Sabia Gava" userId="68ac195b-011b-467c-86d4-321df89323d0" providerId="ADAL" clId="{0C687AD9-2800-41E2-AA69-D02ABC7EDD76}" dt="2023-11-20T14:05:08.725" v="5684" actId="1076"/>
          <ac:cxnSpMkLst>
            <pc:docMk/>
            <pc:sldMk cId="1914204330" sldId="3020"/>
            <ac:cxnSpMk id="8" creationId="{C443DB47-BC72-D9D2-6937-1190A93443D5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26" creationId="{67DEEEE0-D83F-2BC3-2BFC-024FB63A33AF}"/>
          </ac:cxnSpMkLst>
        </pc:cxnChg>
        <pc:cxnChg chg="add mod">
          <ac:chgData name="Otavio Augusto Sabia Gava" userId="68ac195b-011b-467c-86d4-321df89323d0" providerId="ADAL" clId="{0C687AD9-2800-41E2-AA69-D02ABC7EDD76}" dt="2023-11-20T14:05:08.725" v="5684" actId="1076"/>
          <ac:cxnSpMkLst>
            <pc:docMk/>
            <pc:sldMk cId="1914204330" sldId="3020"/>
            <ac:cxnSpMk id="32" creationId="{7A9081F4-C8F0-4FAA-476D-9C705FA3DD4A}"/>
          </ac:cxnSpMkLst>
        </pc:cxnChg>
        <pc:cxnChg chg="add del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37" creationId="{6AC1C71E-DC6B-2685-81CD-C00259E4CEA3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39" creationId="{309646FC-0B5A-2C69-9971-D6BCD54300BE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43" creationId="{7DB5CAD2-FE2D-0535-354A-C36A9D37EC2A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44" creationId="{1AA6F98A-2BEA-B6BC-A49D-2CC0738543C7}"/>
          </ac:cxnSpMkLst>
        </pc:cxnChg>
        <pc:cxnChg chg="add del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46" creationId="{4CBF3436-1C9C-746B-1DD9-C2B888FD9449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47" creationId="{66244ED4-A691-8F1B-F3D8-1C9BDFEBB322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48" creationId="{4ACABEF3-2AF1-8708-A9D1-C50CF240C415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50" creationId="{FC4C0829-0F26-47FF-8C0A-B0D2747C817C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52" creationId="{3A5A12C4-C37A-4E2E-59AA-A2AA9D4C4481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53" creationId="{656A0930-3AAA-A0F7-438F-4F51E72DF7B4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55" creationId="{22BC17CD-0D60-07DD-9E88-0DE481CC5A0B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58" creationId="{1B115969-F521-BD4C-6436-5D2E8902399A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60" creationId="{E9C9A890-31C9-D7C3-1725-9F7E0BEA8990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61" creationId="{B3C693B2-79B8-09B4-DBDC-A8F0003A5EE9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63" creationId="{482A9C29-C737-C264-9A4C-707E6D02B5E8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68" creationId="{448AE258-75A4-A497-EF62-EB2E4D2755E5}"/>
          </ac:cxnSpMkLst>
        </pc:cxnChg>
        <pc:cxnChg chg="add del mod">
          <ac:chgData name="Otavio Augusto Sabia Gava" userId="68ac195b-011b-467c-86d4-321df89323d0" providerId="ADAL" clId="{0C687AD9-2800-41E2-AA69-D02ABC7EDD76}" dt="2023-11-20T14:04:48.625" v="5682" actId="478"/>
          <ac:cxnSpMkLst>
            <pc:docMk/>
            <pc:sldMk cId="1914204330" sldId="3020"/>
            <ac:cxnSpMk id="69" creationId="{D468B46E-E699-A323-B2C2-98DDFD1A2195}"/>
          </ac:cxnSpMkLst>
        </pc:cxnChg>
        <pc:cxnChg chg="add mod">
          <ac:chgData name="Otavio Augusto Sabia Gava" userId="68ac195b-011b-467c-86d4-321df89323d0" providerId="ADAL" clId="{0C687AD9-2800-41E2-AA69-D02ABC7EDD76}" dt="2023-11-20T14:17:20.326" v="5835" actId="1076"/>
          <ac:cxnSpMkLst>
            <pc:docMk/>
            <pc:sldMk cId="1914204330" sldId="3020"/>
            <ac:cxnSpMk id="74" creationId="{3F100B3D-6FBB-70F6-CB3A-AA3EA38E36C2}"/>
          </ac:cxnSpMkLst>
        </pc:cxnChg>
        <pc:cxnChg chg="add mod">
          <ac:chgData name="Otavio Augusto Sabia Gava" userId="68ac195b-011b-467c-86d4-321df89323d0" providerId="ADAL" clId="{0C687AD9-2800-41E2-AA69-D02ABC7EDD76}" dt="2023-11-20T14:05:08.725" v="5684" actId="1076"/>
          <ac:cxnSpMkLst>
            <pc:docMk/>
            <pc:sldMk cId="1914204330" sldId="3020"/>
            <ac:cxnSpMk id="75" creationId="{6958260A-7E2C-4F9A-70F2-512CB6568E4E}"/>
          </ac:cxnSpMkLst>
        </pc:cxnChg>
        <pc:cxnChg chg="add mod">
          <ac:chgData name="Otavio Augusto Sabia Gava" userId="68ac195b-011b-467c-86d4-321df89323d0" providerId="ADAL" clId="{0C687AD9-2800-41E2-AA69-D02ABC7EDD76}" dt="2023-11-20T14:17:26.290" v="5856" actId="1038"/>
          <ac:cxnSpMkLst>
            <pc:docMk/>
            <pc:sldMk cId="1914204330" sldId="3020"/>
            <ac:cxnSpMk id="79" creationId="{5A9A119C-EBDB-8620-9BCD-65263BE8B4B2}"/>
          </ac:cxnSpMkLst>
        </pc:cxnChg>
        <pc:cxnChg chg="add mod">
          <ac:chgData name="Otavio Augusto Sabia Gava" userId="68ac195b-011b-467c-86d4-321df89323d0" providerId="ADAL" clId="{0C687AD9-2800-41E2-AA69-D02ABC7EDD76}" dt="2023-11-20T14:17:29.860" v="5866" actId="1037"/>
          <ac:cxnSpMkLst>
            <pc:docMk/>
            <pc:sldMk cId="1914204330" sldId="3020"/>
            <ac:cxnSpMk id="80" creationId="{3C6A5842-6807-4416-8BEE-71B717D81B93}"/>
          </ac:cxnSpMkLst>
        </pc:cxnChg>
        <pc:cxnChg chg="add mod">
          <ac:chgData name="Otavio Augusto Sabia Gava" userId="68ac195b-011b-467c-86d4-321df89323d0" providerId="ADAL" clId="{0C687AD9-2800-41E2-AA69-D02ABC7EDD76}" dt="2023-11-20T14:17:32.560" v="5870" actId="1038"/>
          <ac:cxnSpMkLst>
            <pc:docMk/>
            <pc:sldMk cId="1914204330" sldId="3020"/>
            <ac:cxnSpMk id="86" creationId="{3D99207D-83CF-09B5-04B4-0699BB2C9C2A}"/>
          </ac:cxnSpMkLst>
        </pc:cxnChg>
        <pc:cxnChg chg="add mod">
          <ac:chgData name="Otavio Augusto Sabia Gava" userId="68ac195b-011b-467c-86d4-321df89323d0" providerId="ADAL" clId="{0C687AD9-2800-41E2-AA69-D02ABC7EDD76}" dt="2023-11-20T14:05:08.725" v="5684" actId="1076"/>
          <ac:cxnSpMkLst>
            <pc:docMk/>
            <pc:sldMk cId="1914204330" sldId="3020"/>
            <ac:cxnSpMk id="91" creationId="{613AB115-4699-8D6B-7FD7-D42D24BED062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1-20T14:21:04.784" v="5903" actId="47"/>
        <pc:sldMkLst>
          <pc:docMk/>
          <pc:sldMk cId="42085415" sldId="3021"/>
        </pc:sldMkLst>
        <pc:spChg chg="del">
          <ac:chgData name="Otavio Augusto Sabia Gava" userId="68ac195b-011b-467c-86d4-321df89323d0" providerId="ADAL" clId="{0C687AD9-2800-41E2-AA69-D02ABC7EDD76}" dt="2023-11-20T14:19:12.056" v="5878" actId="478"/>
          <ac:spMkLst>
            <pc:docMk/>
            <pc:sldMk cId="42085415" sldId="3021"/>
            <ac:spMk id="3" creationId="{4CB52140-A36F-531F-C66B-84E89DE329B1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6" creationId="{8655FC85-B956-F24F-2E60-B9B581CA0F07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1" creationId="{1D06E59B-A791-C197-120D-CF5C5BB7C2E6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4" creationId="{51F3B548-E92D-FC3B-19AA-F3BFE070C70D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5" creationId="{82B701E8-F245-B658-B6EC-9DB6E74CBDD5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6" creationId="{C2129423-EEB7-77A3-B7ED-D9C35460C3F6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7" creationId="{120CF6AC-7174-B7FF-DDC8-56F9EC8FD305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8" creationId="{ACF200F0-5613-690F-EF7B-7C71428A1961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27" creationId="{B0362305-C1AB-F529-E180-D19FD99F3595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28" creationId="{88272C08-C684-F3DF-1976-9B2FF98645F4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29" creationId="{41AF48E9-94AA-141E-DFBC-6692E01855AE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30" creationId="{C1637446-A78A-8094-ED0F-DF226F5C3EF7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33" creationId="{44C1CF72-2E8B-8DF2-1724-098F6BEBBD0E}"/>
          </ac:spMkLst>
        </pc:spChg>
        <pc:spChg chg="del">
          <ac:chgData name="Otavio Augusto Sabia Gava" userId="68ac195b-011b-467c-86d4-321df89323d0" providerId="ADAL" clId="{0C687AD9-2800-41E2-AA69-D02ABC7EDD76}" dt="2023-11-20T14:19:07.284" v="5875" actId="478"/>
          <ac:spMkLst>
            <pc:docMk/>
            <pc:sldMk cId="42085415" sldId="3021"/>
            <ac:spMk id="34" creationId="{168B176E-86B3-1A8E-8F08-5E9DC580AB85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35" creationId="{255FF1A0-4C27-6E21-D296-4FF322B4BF34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73" creationId="{D87C114A-A1DA-8E8D-0D8A-99D4AD083ADD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76" creationId="{7E484B2E-10B0-F8E6-C68B-B92FDD67A405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77" creationId="{618CCB41-812D-022C-FDEA-B2534CAE8D5B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81" creationId="{84DE5D01-8E0C-3E24-A3BF-7FF9662F0675}"/>
          </ac:spMkLst>
        </pc:spChg>
        <pc:spChg chg="del">
          <ac:chgData name="Otavio Augusto Sabia Gava" userId="68ac195b-011b-467c-86d4-321df89323d0" providerId="ADAL" clId="{0C687AD9-2800-41E2-AA69-D02ABC7EDD76}" dt="2023-11-20T14:19:06.291" v="5874" actId="478"/>
          <ac:spMkLst>
            <pc:docMk/>
            <pc:sldMk cId="42085415" sldId="3021"/>
            <ac:spMk id="83" creationId="{9FCA0BF4-61BE-C926-2CEF-83D1E5156D7E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84" creationId="{76DA5ED1-C6C5-7B17-8EA8-08DD15951271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87" creationId="{978DB6F8-2503-5B3A-C0B9-8390592BEB3B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89" creationId="{2D8FFBA5-306F-BE4D-F1C9-A1D56951E4B5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2" creationId="{24ADCA77-06F2-4FC5-1A0C-3600F7CFAD0E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3" creationId="{5D5A780F-CF67-8537-7107-6455D887CDB0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4" creationId="{FA362115-ACC7-840C-3774-81A920F57A31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5" creationId="{9631AA52-5FDC-837B-FF08-1BC1B9ACDF93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6" creationId="{808870AF-C668-2488-9F60-E4D914345E84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7" creationId="{C1A062EC-B6ED-3E72-93B1-1A744D40B029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8" creationId="{51AE81F6-AE2C-47FD-2BDA-E13227FE6DA4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99" creationId="{54606B88-5F51-6494-ED30-DDEF2304E5B2}"/>
          </ac:spMkLst>
        </pc:spChg>
        <pc:spChg chg="del">
          <ac:chgData name="Otavio Augusto Sabia Gava" userId="68ac195b-011b-467c-86d4-321df89323d0" providerId="ADAL" clId="{0C687AD9-2800-41E2-AA69-D02ABC7EDD76}" dt="2023-11-20T14:19:10.687" v="5877" actId="478"/>
          <ac:spMkLst>
            <pc:docMk/>
            <pc:sldMk cId="42085415" sldId="3021"/>
            <ac:spMk id="100" creationId="{F9737766-35C1-67DB-FE73-527DE171BA34}"/>
          </ac:spMkLst>
        </pc:spChg>
        <pc:spChg chg="del">
          <ac:chgData name="Otavio Augusto Sabia Gava" userId="68ac195b-011b-467c-86d4-321df89323d0" providerId="ADAL" clId="{0C687AD9-2800-41E2-AA69-D02ABC7EDD76}" dt="2023-11-20T14:19:13.514" v="5879" actId="478"/>
          <ac:spMkLst>
            <pc:docMk/>
            <pc:sldMk cId="42085415" sldId="3021"/>
            <ac:spMk id="104" creationId="{8DFA7729-C1FE-82AB-8F5D-62133E74E5A7}"/>
          </ac:spMkLst>
        </pc:spChg>
        <pc:picChg chg="add mod">
          <ac:chgData name="Otavio Augusto Sabia Gava" userId="68ac195b-011b-467c-86d4-321df89323d0" providerId="ADAL" clId="{0C687AD9-2800-41E2-AA69-D02ABC7EDD76}" dt="2023-11-20T14:20:09.292" v="5895" actId="14100"/>
          <ac:picMkLst>
            <pc:docMk/>
            <pc:sldMk cId="42085415" sldId="3021"/>
            <ac:picMk id="2" creationId="{1C34D4E4-9874-50B4-735B-2A1DD4D13018}"/>
          </ac:picMkLst>
        </pc:picChg>
        <pc:picChg chg="del">
          <ac:chgData name="Otavio Augusto Sabia Gava" userId="68ac195b-011b-467c-86d4-321df89323d0" providerId="ADAL" clId="{0C687AD9-2800-41E2-AA69-D02ABC7EDD76}" dt="2023-11-20T14:19:13.514" v="5879" actId="478"/>
          <ac:picMkLst>
            <pc:docMk/>
            <pc:sldMk cId="42085415" sldId="3021"/>
            <ac:picMk id="4" creationId="{6A456A13-97D0-AAE6-C115-B03ABA51B499}"/>
          </ac:picMkLst>
        </pc:picChg>
        <pc:picChg chg="add mod">
          <ac:chgData name="Otavio Augusto Sabia Gava" userId="68ac195b-011b-467c-86d4-321df89323d0" providerId="ADAL" clId="{0C687AD9-2800-41E2-AA69-D02ABC7EDD76}" dt="2023-11-20T14:21:03.467" v="5902" actId="1076"/>
          <ac:picMkLst>
            <pc:docMk/>
            <pc:sldMk cId="42085415" sldId="3021"/>
            <ac:picMk id="7" creationId="{EA3AB3BA-21E9-0DBE-C97B-21D241540E96}"/>
          </ac:picMkLst>
        </pc:picChg>
        <pc:picChg chg="add mod">
          <ac:chgData name="Otavio Augusto Sabia Gava" userId="68ac195b-011b-467c-86d4-321df89323d0" providerId="ADAL" clId="{0C687AD9-2800-41E2-AA69-D02ABC7EDD76}" dt="2023-11-20T14:20:11.094" v="5896" actId="1076"/>
          <ac:picMkLst>
            <pc:docMk/>
            <pc:sldMk cId="42085415" sldId="3021"/>
            <ac:picMk id="9" creationId="{013C6E56-A30E-DAE5-A66D-59927EA93219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10" creationId="{77A5987F-FDCD-00A6-B63C-C43F5AEFBD9E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12" creationId="{323B14C6-178A-851B-D637-7D26E7750F84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19" creationId="{5B30B37C-BEF8-AF61-1901-5FB4AFF01A7E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21" creationId="{AB3BC4BC-F2A7-0E59-69BA-3E89B396FF0F}"/>
          </ac:picMkLst>
        </pc:picChg>
        <pc:picChg chg="del">
          <ac:chgData name="Otavio Augusto Sabia Gava" userId="68ac195b-011b-467c-86d4-321df89323d0" providerId="ADAL" clId="{0C687AD9-2800-41E2-AA69-D02ABC7EDD76}" dt="2023-11-20T14:19:07.918" v="5876" actId="478"/>
          <ac:picMkLst>
            <pc:docMk/>
            <pc:sldMk cId="42085415" sldId="3021"/>
            <ac:picMk id="22" creationId="{E4420158-584C-E638-9771-2CF973203532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31" creationId="{DBFD04C0-406E-F46D-C6DC-A4A3DDB8505B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71" creationId="{674C35A8-A02F-8096-73FE-FB75533B12EF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72" creationId="{E469EAA6-1FD7-EED0-BE82-862F5FDE5969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78" creationId="{EDD77052-67C1-613E-CA28-075EAEBDE12C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82" creationId="{A8A26AA8-D173-6DB7-E2D9-77BD9416A769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85" creationId="{2602D2DD-C454-C808-9DC2-61FDC3F2FBC1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88" creationId="{E0465F98-23AA-3ED7-8891-23BFD30D3FC5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108" creationId="{11ED23A3-87B0-1ED7-F86B-3514DDE35D68}"/>
          </ac:picMkLst>
        </pc:picChg>
        <pc:picChg chg="del">
          <ac:chgData name="Otavio Augusto Sabia Gava" userId="68ac195b-011b-467c-86d4-321df89323d0" providerId="ADAL" clId="{0C687AD9-2800-41E2-AA69-D02ABC7EDD76}" dt="2023-11-20T14:19:10.687" v="5877" actId="478"/>
          <ac:picMkLst>
            <pc:docMk/>
            <pc:sldMk cId="42085415" sldId="3021"/>
            <ac:picMk id="109" creationId="{A105E3C1-BAB9-5843-8524-5F8A15ED7E98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17424" creationId="{5A91893E-C5E1-3A37-E8DC-2C7D6D0AE227}"/>
          </ac:picMkLst>
        </pc:picChg>
        <pc:picChg chg="del">
          <ac:chgData name="Otavio Augusto Sabia Gava" userId="68ac195b-011b-467c-86d4-321df89323d0" providerId="ADAL" clId="{0C687AD9-2800-41E2-AA69-D02ABC7EDD76}" dt="2023-11-20T14:19:06.291" v="5874" actId="478"/>
          <ac:picMkLst>
            <pc:docMk/>
            <pc:sldMk cId="42085415" sldId="3021"/>
            <ac:picMk id="17426" creationId="{7EF55B37-DA4E-D732-D525-0A6526546433}"/>
          </ac:picMkLst>
        </pc:picChg>
        <pc:cxnChg chg="del">
          <ac:chgData name="Otavio Augusto Sabia Gava" userId="68ac195b-011b-467c-86d4-321df89323d0" providerId="ADAL" clId="{0C687AD9-2800-41E2-AA69-D02ABC7EDD76}" dt="2023-11-20T14:19:10.687" v="5877" actId="478"/>
          <ac:cxnSpMkLst>
            <pc:docMk/>
            <pc:sldMk cId="42085415" sldId="3021"/>
            <ac:cxnSpMk id="8" creationId="{C443DB47-BC72-D9D2-6937-1190A93443D5}"/>
          </ac:cxnSpMkLst>
        </pc:cxnChg>
        <pc:cxnChg chg="del">
          <ac:chgData name="Otavio Augusto Sabia Gava" userId="68ac195b-011b-467c-86d4-321df89323d0" providerId="ADAL" clId="{0C687AD9-2800-41E2-AA69-D02ABC7EDD76}" dt="2023-11-20T14:19:10.687" v="5877" actId="478"/>
          <ac:cxnSpMkLst>
            <pc:docMk/>
            <pc:sldMk cId="42085415" sldId="3021"/>
            <ac:cxnSpMk id="32" creationId="{7A9081F4-C8F0-4FAA-476D-9C705FA3DD4A}"/>
          </ac:cxnSpMkLst>
        </pc:cxnChg>
        <pc:cxnChg chg="del">
          <ac:chgData name="Otavio Augusto Sabia Gava" userId="68ac195b-011b-467c-86d4-321df89323d0" providerId="ADAL" clId="{0C687AD9-2800-41E2-AA69-D02ABC7EDD76}" dt="2023-11-20T14:19:06.291" v="5874" actId="478"/>
          <ac:cxnSpMkLst>
            <pc:docMk/>
            <pc:sldMk cId="42085415" sldId="3021"/>
            <ac:cxnSpMk id="74" creationId="{3F100B3D-6FBB-70F6-CB3A-AA3EA38E36C2}"/>
          </ac:cxnSpMkLst>
        </pc:cxnChg>
        <pc:cxnChg chg="del">
          <ac:chgData name="Otavio Augusto Sabia Gava" userId="68ac195b-011b-467c-86d4-321df89323d0" providerId="ADAL" clId="{0C687AD9-2800-41E2-AA69-D02ABC7EDD76}" dt="2023-11-20T14:19:06.291" v="5874" actId="478"/>
          <ac:cxnSpMkLst>
            <pc:docMk/>
            <pc:sldMk cId="42085415" sldId="3021"/>
            <ac:cxnSpMk id="75" creationId="{6958260A-7E2C-4F9A-70F2-512CB6568E4E}"/>
          </ac:cxnSpMkLst>
        </pc:cxnChg>
        <pc:cxnChg chg="del">
          <ac:chgData name="Otavio Augusto Sabia Gava" userId="68ac195b-011b-467c-86d4-321df89323d0" providerId="ADAL" clId="{0C687AD9-2800-41E2-AA69-D02ABC7EDD76}" dt="2023-11-20T14:19:06.291" v="5874" actId="478"/>
          <ac:cxnSpMkLst>
            <pc:docMk/>
            <pc:sldMk cId="42085415" sldId="3021"/>
            <ac:cxnSpMk id="79" creationId="{5A9A119C-EBDB-8620-9BCD-65263BE8B4B2}"/>
          </ac:cxnSpMkLst>
        </pc:cxnChg>
        <pc:cxnChg chg="del">
          <ac:chgData name="Otavio Augusto Sabia Gava" userId="68ac195b-011b-467c-86d4-321df89323d0" providerId="ADAL" clId="{0C687AD9-2800-41E2-AA69-D02ABC7EDD76}" dt="2023-11-20T14:19:06.291" v="5874" actId="478"/>
          <ac:cxnSpMkLst>
            <pc:docMk/>
            <pc:sldMk cId="42085415" sldId="3021"/>
            <ac:cxnSpMk id="80" creationId="{3C6A5842-6807-4416-8BEE-71B717D81B93}"/>
          </ac:cxnSpMkLst>
        </pc:cxnChg>
        <pc:cxnChg chg="del">
          <ac:chgData name="Otavio Augusto Sabia Gava" userId="68ac195b-011b-467c-86d4-321df89323d0" providerId="ADAL" clId="{0C687AD9-2800-41E2-AA69-D02ABC7EDD76}" dt="2023-11-20T14:19:10.687" v="5877" actId="478"/>
          <ac:cxnSpMkLst>
            <pc:docMk/>
            <pc:sldMk cId="42085415" sldId="3021"/>
            <ac:cxnSpMk id="86" creationId="{3D99207D-83CF-09B5-04B4-0699BB2C9C2A}"/>
          </ac:cxnSpMkLst>
        </pc:cxnChg>
        <pc:cxnChg chg="del">
          <ac:chgData name="Otavio Augusto Sabia Gava" userId="68ac195b-011b-467c-86d4-321df89323d0" providerId="ADAL" clId="{0C687AD9-2800-41E2-AA69-D02ABC7EDD76}" dt="2023-11-20T14:19:10.687" v="5877" actId="478"/>
          <ac:cxnSpMkLst>
            <pc:docMk/>
            <pc:sldMk cId="42085415" sldId="3021"/>
            <ac:cxnSpMk id="91" creationId="{613AB115-4699-8D6B-7FD7-D42D24BED062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1-29T18:36:37.058" v="28772" actId="47"/>
        <pc:sldMkLst>
          <pc:docMk/>
          <pc:sldMk cId="4009495121" sldId="3021"/>
        </pc:sldMkLst>
        <pc:spChg chg="mod">
          <ac:chgData name="Otavio Augusto Sabia Gava" userId="68ac195b-011b-467c-86d4-321df89323d0" providerId="ADAL" clId="{0C687AD9-2800-41E2-AA69-D02ABC7EDD76}" dt="2023-11-27T12:03:32.955" v="17143" actId="20577"/>
          <ac:spMkLst>
            <pc:docMk/>
            <pc:sldMk cId="4009495121" sldId="3021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1T02:13:20.238" v="10301" actId="20577"/>
          <ac:spMkLst>
            <pc:docMk/>
            <pc:sldMk cId="4009495121" sldId="3021"/>
            <ac:spMk id="16" creationId="{5054D865-64A9-5590-A391-96C8557BB5FF}"/>
          </ac:spMkLst>
        </pc:spChg>
        <pc:spChg chg="mod">
          <ac:chgData name="Otavio Augusto Sabia Gava" userId="68ac195b-011b-467c-86d4-321df89323d0" providerId="ADAL" clId="{0C687AD9-2800-41E2-AA69-D02ABC7EDD76}" dt="2023-11-21T17:28:26.897" v="15319" actId="20577"/>
          <ac:spMkLst>
            <pc:docMk/>
            <pc:sldMk cId="4009495121" sldId="3021"/>
            <ac:spMk id="17" creationId="{A3E412C1-241A-D9C6-3CD5-7F5AECA30CAE}"/>
          </ac:spMkLst>
        </pc:spChg>
        <pc:spChg chg="mod">
          <ac:chgData name="Otavio Augusto Sabia Gava" userId="68ac195b-011b-467c-86d4-321df89323d0" providerId="ADAL" clId="{0C687AD9-2800-41E2-AA69-D02ABC7EDD76}" dt="2023-11-21T17:20:07.259" v="14991" actId="113"/>
          <ac:spMkLst>
            <pc:docMk/>
            <pc:sldMk cId="4009495121" sldId="3021"/>
            <ac:spMk id="18" creationId="{1ADA1330-071F-04C5-198C-0F7D46D802D1}"/>
          </ac:spMkLst>
        </pc:spChg>
        <pc:spChg chg="mod">
          <ac:chgData name="Otavio Augusto Sabia Gava" userId="68ac195b-011b-467c-86d4-321df89323d0" providerId="ADAL" clId="{0C687AD9-2800-41E2-AA69-D02ABC7EDD76}" dt="2023-11-21T17:22:51.647" v="15209" actId="113"/>
          <ac:spMkLst>
            <pc:docMk/>
            <pc:sldMk cId="4009495121" sldId="3021"/>
            <ac:spMk id="19" creationId="{72C8E966-B429-3310-6172-B48B5DDB5C2E}"/>
          </ac:spMkLst>
        </pc:spChg>
        <pc:spChg chg="mod">
          <ac:chgData name="Otavio Augusto Sabia Gava" userId="68ac195b-011b-467c-86d4-321df89323d0" providerId="ADAL" clId="{0C687AD9-2800-41E2-AA69-D02ABC7EDD76}" dt="2023-11-28T18:18:34.753" v="19924" actId="13926"/>
          <ac:spMkLst>
            <pc:docMk/>
            <pc:sldMk cId="4009495121" sldId="3021"/>
            <ac:spMk id="21" creationId="{3731A43B-B979-1D61-F8AC-FF10B4F30A39}"/>
          </ac:spMkLst>
        </pc:spChg>
        <pc:spChg chg="mod">
          <ac:chgData name="Otavio Augusto Sabia Gava" userId="68ac195b-011b-467c-86d4-321df89323d0" providerId="ADAL" clId="{0C687AD9-2800-41E2-AA69-D02ABC7EDD76}" dt="2023-11-21T02:12:58.819" v="10224" actId="20577"/>
          <ac:spMkLst>
            <pc:docMk/>
            <pc:sldMk cId="4009495121" sldId="3021"/>
            <ac:spMk id="32" creationId="{8AC3EF9D-5D22-8EF4-F021-D03C46654570}"/>
          </ac:spMkLst>
        </pc:spChg>
        <pc:spChg chg="mod">
          <ac:chgData name="Otavio Augusto Sabia Gava" userId="68ac195b-011b-467c-86d4-321df89323d0" providerId="ADAL" clId="{0C687AD9-2800-41E2-AA69-D02ABC7EDD76}" dt="2023-11-20T20:52:57.896" v="7471" actId="113"/>
          <ac:spMkLst>
            <pc:docMk/>
            <pc:sldMk cId="4009495121" sldId="3021"/>
            <ac:spMk id="33" creationId="{84F2FCC9-34B4-4DF9-3618-E1E6CA399800}"/>
          </ac:spMkLst>
        </pc:spChg>
        <pc:spChg chg="mod">
          <ac:chgData name="Otavio Augusto Sabia Gava" userId="68ac195b-011b-467c-86d4-321df89323d0" providerId="ADAL" clId="{0C687AD9-2800-41E2-AA69-D02ABC7EDD76}" dt="2023-11-28T18:18:41.664" v="19932" actId="113"/>
          <ac:spMkLst>
            <pc:docMk/>
            <pc:sldMk cId="4009495121" sldId="3021"/>
            <ac:spMk id="34" creationId="{888E0732-CA1D-0B6A-5A87-F5D77BD6E7C1}"/>
          </ac:spMkLst>
        </pc:spChg>
        <pc:spChg chg="mod">
          <ac:chgData name="Otavio Augusto Sabia Gava" userId="68ac195b-011b-467c-86d4-321df89323d0" providerId="ADAL" clId="{0C687AD9-2800-41E2-AA69-D02ABC7EDD76}" dt="2023-11-21T11:37:15.601" v="12220" actId="20577"/>
          <ac:spMkLst>
            <pc:docMk/>
            <pc:sldMk cId="4009495121" sldId="3021"/>
            <ac:spMk id="35" creationId="{DE2A735B-3016-B5A5-4E3D-4CF16AC331C3}"/>
          </ac:spMkLst>
        </pc:spChg>
        <pc:picChg chg="del">
          <ac:chgData name="Otavio Augusto Sabia Gava" userId="68ac195b-011b-467c-86d4-321df89323d0" providerId="ADAL" clId="{0C687AD9-2800-41E2-AA69-D02ABC7EDD76}" dt="2023-11-20T18:48:26.386" v="6841" actId="478"/>
          <ac:picMkLst>
            <pc:docMk/>
            <pc:sldMk cId="4009495121" sldId="3021"/>
            <ac:picMk id="15" creationId="{53D7601F-788D-E63F-A9BF-6AA9A3D28640}"/>
          </ac:picMkLst>
        </pc:picChg>
        <pc:picChg chg="add mod">
          <ac:chgData name="Otavio Augusto Sabia Gava" userId="68ac195b-011b-467c-86d4-321df89323d0" providerId="ADAL" clId="{0C687AD9-2800-41E2-AA69-D02ABC7EDD76}" dt="2023-11-21T17:27:56.318" v="15292"/>
          <ac:picMkLst>
            <pc:docMk/>
            <pc:sldMk cId="4009495121" sldId="3021"/>
            <ac:picMk id="31" creationId="{24633879-42C0-464D-6EDC-F23E6D541292}"/>
          </ac:picMkLst>
        </pc:picChg>
        <pc:picChg chg="del mod">
          <ac:chgData name="Otavio Augusto Sabia Gava" userId="68ac195b-011b-467c-86d4-321df89323d0" providerId="ADAL" clId="{0C687AD9-2800-41E2-AA69-D02ABC7EDD76}" dt="2023-11-21T11:52:44.455" v="13529" actId="478"/>
          <ac:picMkLst>
            <pc:docMk/>
            <pc:sldMk cId="4009495121" sldId="3021"/>
            <ac:picMk id="36" creationId="{A4C3C829-9152-AEC0-6B21-572A37CC04B4}"/>
          </ac:picMkLst>
        </pc:picChg>
        <pc:picChg chg="mod">
          <ac:chgData name="Otavio Augusto Sabia Gava" userId="68ac195b-011b-467c-86d4-321df89323d0" providerId="ADAL" clId="{0C687AD9-2800-41E2-AA69-D02ABC7EDD76}" dt="2023-11-20T21:04:34.161" v="8058"/>
          <ac:picMkLst>
            <pc:docMk/>
            <pc:sldMk cId="4009495121" sldId="3021"/>
            <ac:picMk id="37" creationId="{95402AD2-37E2-3CCC-2B9A-65ADB5BA3229}"/>
          </ac:picMkLst>
        </pc:picChg>
        <pc:picChg chg="del">
          <ac:chgData name="Otavio Augusto Sabia Gava" userId="68ac195b-011b-467c-86d4-321df89323d0" providerId="ADAL" clId="{0C687AD9-2800-41E2-AA69-D02ABC7EDD76}" dt="2023-11-20T20:50:26.726" v="7109" actId="478"/>
          <ac:picMkLst>
            <pc:docMk/>
            <pc:sldMk cId="4009495121" sldId="3021"/>
            <ac:picMk id="14338" creationId="{F2B32A13-5B9A-BA87-7C86-A457ED5C77EB}"/>
          </ac:picMkLst>
        </pc:picChg>
        <pc:picChg chg="add del mod">
          <ac:chgData name="Otavio Augusto Sabia Gava" userId="68ac195b-011b-467c-86d4-321df89323d0" providerId="ADAL" clId="{0C687AD9-2800-41E2-AA69-D02ABC7EDD76}" dt="2023-11-21T02:13:24.293" v="10302" actId="478"/>
          <ac:picMkLst>
            <pc:docMk/>
            <pc:sldMk cId="4009495121" sldId="3021"/>
            <ac:picMk id="20482" creationId="{724EFCA5-0421-A419-F55E-D6B8062EA688}"/>
          </ac:picMkLst>
        </pc:picChg>
        <pc:picChg chg="add mod">
          <ac:chgData name="Otavio Augusto Sabia Gava" userId="68ac195b-011b-467c-86d4-321df89323d0" providerId="ADAL" clId="{0C687AD9-2800-41E2-AA69-D02ABC7EDD76}" dt="2023-11-20T20:50:45.535" v="7120" actId="1076"/>
          <ac:picMkLst>
            <pc:docMk/>
            <pc:sldMk cId="4009495121" sldId="3021"/>
            <ac:picMk id="20484" creationId="{FA684466-1A89-A856-281A-732F350B2753}"/>
          </ac:picMkLst>
        </pc:picChg>
        <pc:picChg chg="add mod">
          <ac:chgData name="Otavio Augusto Sabia Gava" userId="68ac195b-011b-467c-86d4-321df89323d0" providerId="ADAL" clId="{0C687AD9-2800-41E2-AA69-D02ABC7EDD76}" dt="2023-11-21T02:14:06.061" v="10307" actId="1076"/>
          <ac:picMkLst>
            <pc:docMk/>
            <pc:sldMk cId="4009495121" sldId="3021"/>
            <ac:picMk id="20486" creationId="{76B6CE10-E42B-0CC5-47BC-16E959E69E09}"/>
          </ac:picMkLst>
        </pc:picChg>
      </pc:sldChg>
      <pc:sldChg chg="add del">
        <pc:chgData name="Otavio Augusto Sabia Gava" userId="68ac195b-011b-467c-86d4-321df89323d0" providerId="ADAL" clId="{0C687AD9-2800-41E2-AA69-D02ABC7EDD76}" dt="2023-11-20T20:39:14.076" v="6892"/>
        <pc:sldMkLst>
          <pc:docMk/>
          <pc:sldMk cId="164017424" sldId="3022"/>
        </pc:sldMkLst>
      </pc:sldChg>
      <pc:sldChg chg="add del">
        <pc:chgData name="Otavio Augusto Sabia Gava" userId="68ac195b-011b-467c-86d4-321df89323d0" providerId="ADAL" clId="{0C687AD9-2800-41E2-AA69-D02ABC7EDD76}" dt="2023-11-20T18:48:27.380" v="6843"/>
        <pc:sldMkLst>
          <pc:docMk/>
          <pc:sldMk cId="1538120608" sldId="3022"/>
        </pc:sldMkLst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2544188981" sldId="3022"/>
        </pc:sldMkLst>
        <pc:spChg chg="mod">
          <ac:chgData name="Otavio Augusto Sabia Gava" userId="68ac195b-011b-467c-86d4-321df89323d0" providerId="ADAL" clId="{0C687AD9-2800-41E2-AA69-D02ABC7EDD76}" dt="2023-11-20T20:39:29.370" v="6900" actId="20577"/>
          <ac:spMkLst>
            <pc:docMk/>
            <pc:sldMk cId="2544188981" sldId="3022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8" creationId="{5C810BC3-E2F3-6AE7-73C3-0DAEC8E844FF}"/>
          </ac:spMkLst>
        </pc:spChg>
        <pc:spChg chg="add mod">
          <ac:chgData name="Otavio Augusto Sabia Gava" userId="68ac195b-011b-467c-86d4-321df89323d0" providerId="ADAL" clId="{0C687AD9-2800-41E2-AA69-D02ABC7EDD76}" dt="2023-11-20T20:40:52.655" v="6923" actId="1076"/>
          <ac:spMkLst>
            <pc:docMk/>
            <pc:sldMk cId="2544188981" sldId="3022"/>
            <ac:spMk id="16" creationId="{B9901D37-9117-80C9-CD33-63AF921463AA}"/>
          </ac:spMkLst>
        </pc:spChg>
        <pc:spChg chg="mod">
          <ac:chgData name="Otavio Augusto Sabia Gava" userId="68ac195b-011b-467c-86d4-321df89323d0" providerId="ADAL" clId="{0C687AD9-2800-41E2-AA69-D02ABC7EDD76}" dt="2023-11-20T20:39:33.569" v="6901"/>
          <ac:spMkLst>
            <pc:docMk/>
            <pc:sldMk cId="2544188981" sldId="3022"/>
            <ac:spMk id="18" creationId="{FE1D68EC-BAC0-98D5-D500-9BC0ED016FB7}"/>
          </ac:spMkLst>
        </pc:spChg>
        <pc:spChg chg="add mod">
          <ac:chgData name="Otavio Augusto Sabia Gava" userId="68ac195b-011b-467c-86d4-321df89323d0" providerId="ADAL" clId="{0C687AD9-2800-41E2-AA69-D02ABC7EDD76}" dt="2023-11-20T20:40:32.891" v="6912" actId="1076"/>
          <ac:spMkLst>
            <pc:docMk/>
            <pc:sldMk cId="2544188981" sldId="3022"/>
            <ac:spMk id="22" creationId="{92D31DC0-9270-C666-8F02-2BFDF61F6DE1}"/>
          </ac:spMkLst>
        </pc:spChg>
        <pc:spChg chg="add del">
          <ac:chgData name="Otavio Augusto Sabia Gava" userId="68ac195b-011b-467c-86d4-321df89323d0" providerId="ADAL" clId="{0C687AD9-2800-41E2-AA69-D02ABC7EDD76}" dt="2023-11-20T20:39:25.523" v="6897" actId="478"/>
          <ac:spMkLst>
            <pc:docMk/>
            <pc:sldMk cId="2544188981" sldId="3022"/>
            <ac:spMk id="25" creationId="{3EF9A1C7-2AAA-FDF7-D59D-75BCFC78F306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29" creationId="{2FDDE962-E3EB-A406-E329-9A81BABA25E2}"/>
          </ac:spMkLst>
        </pc:spChg>
        <pc:spChg chg="mod">
          <ac:chgData name="Otavio Augusto Sabia Gava" userId="68ac195b-011b-467c-86d4-321df89323d0" providerId="ADAL" clId="{0C687AD9-2800-41E2-AA69-D02ABC7EDD76}" dt="2023-11-20T20:40:38.517" v="6914" actId="113"/>
          <ac:spMkLst>
            <pc:docMk/>
            <pc:sldMk cId="2544188981" sldId="3022"/>
            <ac:spMk id="33" creationId="{034C4290-FFFC-0B7A-3FFB-5CCE798EAEDF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35" creationId="{4A3C5AAC-2909-07FD-7399-5029EC63A404}"/>
          </ac:spMkLst>
        </pc:spChg>
        <pc:spChg chg="add del">
          <ac:chgData name="Otavio Augusto Sabia Gava" userId="68ac195b-011b-467c-86d4-321df89323d0" providerId="ADAL" clId="{0C687AD9-2800-41E2-AA69-D02ABC7EDD76}" dt="2023-11-20T20:39:25.523" v="6897" actId="478"/>
          <ac:spMkLst>
            <pc:docMk/>
            <pc:sldMk cId="2544188981" sldId="3022"/>
            <ac:spMk id="38" creationId="{DB69E4C5-C893-3A58-1AE9-D6332AB927F8}"/>
          </ac:spMkLst>
        </pc:spChg>
        <pc:spChg chg="add del">
          <ac:chgData name="Otavio Augusto Sabia Gava" userId="68ac195b-011b-467c-86d4-321df89323d0" providerId="ADAL" clId="{0C687AD9-2800-41E2-AA69-D02ABC7EDD76}" dt="2023-11-20T20:39:25.523" v="6897" actId="478"/>
          <ac:spMkLst>
            <pc:docMk/>
            <pc:sldMk cId="2544188981" sldId="3022"/>
            <ac:spMk id="40" creationId="{E985372E-FD86-09B8-2D3B-3623753F841B}"/>
          </ac:spMkLst>
        </pc:spChg>
        <pc:spChg chg="add del">
          <ac:chgData name="Otavio Augusto Sabia Gava" userId="68ac195b-011b-467c-86d4-321df89323d0" providerId="ADAL" clId="{0C687AD9-2800-41E2-AA69-D02ABC7EDD76}" dt="2023-11-20T20:39:24.135" v="6896" actId="478"/>
          <ac:spMkLst>
            <pc:docMk/>
            <pc:sldMk cId="2544188981" sldId="3022"/>
            <ac:spMk id="45" creationId="{E2844B45-5060-3800-B3B4-BEE4B6D7823F}"/>
          </ac:spMkLst>
        </pc:spChg>
        <pc:spChg chg="add del">
          <ac:chgData name="Otavio Augusto Sabia Gava" userId="68ac195b-011b-467c-86d4-321df89323d0" providerId="ADAL" clId="{0C687AD9-2800-41E2-AA69-D02ABC7EDD76}" dt="2023-11-20T20:39:24.135" v="6896" actId="478"/>
          <ac:spMkLst>
            <pc:docMk/>
            <pc:sldMk cId="2544188981" sldId="3022"/>
            <ac:spMk id="51" creationId="{6B06994A-70C3-6DBF-E8AB-3208FF5A6306}"/>
          </ac:spMkLst>
        </pc:spChg>
        <pc:spChg chg="add del">
          <ac:chgData name="Otavio Augusto Sabia Gava" userId="68ac195b-011b-467c-86d4-321df89323d0" providerId="ADAL" clId="{0C687AD9-2800-41E2-AA69-D02ABC7EDD76}" dt="2023-11-20T20:39:24.135" v="6896" actId="478"/>
          <ac:spMkLst>
            <pc:docMk/>
            <pc:sldMk cId="2544188981" sldId="3022"/>
            <ac:spMk id="54" creationId="{2A3C95F4-B2FB-994B-D2C9-8E8396D8859C}"/>
          </ac:spMkLst>
        </pc:spChg>
        <pc:spChg chg="add del">
          <ac:chgData name="Otavio Augusto Sabia Gava" userId="68ac195b-011b-467c-86d4-321df89323d0" providerId="ADAL" clId="{0C687AD9-2800-41E2-AA69-D02ABC7EDD76}" dt="2023-11-20T20:39:24.135" v="6896" actId="478"/>
          <ac:spMkLst>
            <pc:docMk/>
            <pc:sldMk cId="2544188981" sldId="3022"/>
            <ac:spMk id="56" creationId="{DED73B5E-C676-8018-5598-79984A586F9C}"/>
          </ac:spMkLst>
        </pc:spChg>
        <pc:spChg chg="add del">
          <ac:chgData name="Otavio Augusto Sabia Gava" userId="68ac195b-011b-467c-86d4-321df89323d0" providerId="ADAL" clId="{0C687AD9-2800-41E2-AA69-D02ABC7EDD76}" dt="2023-11-20T20:39:24.135" v="6896" actId="478"/>
          <ac:spMkLst>
            <pc:docMk/>
            <pc:sldMk cId="2544188981" sldId="3022"/>
            <ac:spMk id="62" creationId="{B5DBFF4C-CF5D-AD2E-E28C-5FB1164013F1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76" creationId="{D0B4F9EC-1D47-06C2-8642-7B4E8928F6FE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81" creationId="{D70B4C46-4274-EAE8-4DEC-AC755587DFE5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85" creationId="{2201D97A-8031-DA44-13EE-3BC4E018507B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86" creationId="{2E9DC91C-2284-E5A8-C02A-785AA45B0B7C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88" creationId="{8DE55F6E-B6B8-AE28-C07F-7CD319CFA62E}"/>
          </ac:spMkLst>
        </pc:spChg>
        <pc:spChg chg="add mod">
          <ac:chgData name="Otavio Augusto Sabia Gava" userId="68ac195b-011b-467c-86d4-321df89323d0" providerId="ADAL" clId="{0C687AD9-2800-41E2-AA69-D02ABC7EDD76}" dt="2023-11-28T20:00:39.759" v="22275" actId="113"/>
          <ac:spMkLst>
            <pc:docMk/>
            <pc:sldMk cId="2544188981" sldId="3022"/>
            <ac:spMk id="92" creationId="{E020CE84-BF09-30AA-A260-0B7F70AE456D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93" creationId="{243BA35B-9045-4B73-67CC-5CD548DEBCEE}"/>
          </ac:spMkLst>
        </pc:spChg>
        <pc:spChg chg="add mod">
          <ac:chgData name="Otavio Augusto Sabia Gava" userId="68ac195b-011b-467c-86d4-321df89323d0" providerId="ADAL" clId="{0C687AD9-2800-41E2-AA69-D02ABC7EDD76}" dt="2023-11-28T20:00:41.629" v="22276" actId="113"/>
          <ac:spMkLst>
            <pc:docMk/>
            <pc:sldMk cId="2544188981" sldId="3022"/>
            <ac:spMk id="94" creationId="{6C7F93B6-C3D9-02D6-F22E-5BA37836EC18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97" creationId="{348854A1-9835-3AE8-5AFE-94F6E0DAB51F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104" creationId="{C2B702E6-9238-7176-E40E-543A1DFC8D7D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106" creationId="{B8B9CA9D-DB55-F043-0B26-48EDDAC900FC}"/>
          </ac:spMkLst>
        </pc:spChg>
        <pc:spChg chg="add mod">
          <ac:chgData name="Otavio Augusto Sabia Gava" userId="68ac195b-011b-467c-86d4-321df89323d0" providerId="ADAL" clId="{0C687AD9-2800-41E2-AA69-D02ABC7EDD76}" dt="2023-11-20T20:39:36.852" v="6902" actId="1076"/>
          <ac:spMkLst>
            <pc:docMk/>
            <pc:sldMk cId="2544188981" sldId="3022"/>
            <ac:spMk id="108" creationId="{0505A1FD-4180-E886-025A-2BD73EE7A114}"/>
          </ac:spMkLst>
        </pc:spChg>
        <pc:spChg chg="add mod">
          <ac:chgData name="Otavio Augusto Sabia Gava" userId="68ac195b-011b-467c-86d4-321df89323d0" providerId="ADAL" clId="{0C687AD9-2800-41E2-AA69-D02ABC7EDD76}" dt="2023-11-20T20:40:21.047" v="6910" actId="207"/>
          <ac:spMkLst>
            <pc:docMk/>
            <pc:sldMk cId="2544188981" sldId="3022"/>
            <ac:spMk id="109" creationId="{A18583AA-30D0-4444-DD43-9210588DA8EC}"/>
          </ac:spMkLst>
        </pc:spChg>
        <pc:grpChg chg="add del">
          <ac:chgData name="Otavio Augusto Sabia Gava" userId="68ac195b-011b-467c-86d4-321df89323d0" providerId="ADAL" clId="{0C687AD9-2800-41E2-AA69-D02ABC7EDD76}" dt="2023-11-20T20:39:24.135" v="6896" actId="478"/>
          <ac:grpSpMkLst>
            <pc:docMk/>
            <pc:sldMk cId="2544188981" sldId="3022"/>
            <ac:grpSpMk id="2" creationId="{B7667BB9-8488-2757-81F7-457BB99ADDA0}"/>
          </ac:grpSpMkLst>
        </pc:grpChg>
        <pc:grpChg chg="add del">
          <ac:chgData name="Otavio Augusto Sabia Gava" userId="68ac195b-011b-467c-86d4-321df89323d0" providerId="ADAL" clId="{0C687AD9-2800-41E2-AA69-D02ABC7EDD76}" dt="2023-11-20T20:39:25.523" v="6897" actId="478"/>
          <ac:grpSpMkLst>
            <pc:docMk/>
            <pc:sldMk cId="2544188981" sldId="3022"/>
            <ac:grpSpMk id="13" creationId="{857E4F56-0A95-0669-CAE5-E875392B435D}"/>
          </ac:grpSpMkLst>
        </pc:grpChg>
        <pc:grpChg chg="add mod">
          <ac:chgData name="Otavio Augusto Sabia Gava" userId="68ac195b-011b-467c-86d4-321df89323d0" providerId="ADAL" clId="{0C687AD9-2800-41E2-AA69-D02ABC7EDD76}" dt="2023-11-20T20:39:36.852" v="6902" actId="1076"/>
          <ac:grpSpMkLst>
            <pc:docMk/>
            <pc:sldMk cId="2544188981" sldId="3022"/>
            <ac:grpSpMk id="17" creationId="{B5E80A2F-7C55-9D13-E582-E066786F0383}"/>
          </ac:grpSpMkLst>
        </pc:grpChg>
        <pc:grpChg chg="add mod">
          <ac:chgData name="Otavio Augusto Sabia Gava" userId="68ac195b-011b-467c-86d4-321df89323d0" providerId="ADAL" clId="{0C687AD9-2800-41E2-AA69-D02ABC7EDD76}" dt="2023-11-20T20:40:41.030" v="6916" actId="1076"/>
          <ac:grpSpMkLst>
            <pc:docMk/>
            <pc:sldMk cId="2544188981" sldId="3022"/>
            <ac:grpSpMk id="32" creationId="{4E0682F0-ACAC-3EF5-0DE7-8E78F07EB3BA}"/>
          </ac:grpSpMkLst>
        </pc:grpChg>
        <pc:grpChg chg="add del">
          <ac:chgData name="Otavio Augusto Sabia Gava" userId="68ac195b-011b-467c-86d4-321df89323d0" providerId="ADAL" clId="{0C687AD9-2800-41E2-AA69-D02ABC7EDD76}" dt="2023-11-20T20:39:25.523" v="6897" actId="478"/>
          <ac:grpSpMkLst>
            <pc:docMk/>
            <pc:sldMk cId="2544188981" sldId="3022"/>
            <ac:grpSpMk id="65" creationId="{515A8D72-D489-596A-BF23-EEE08316C7C5}"/>
          </ac:grpSpMkLst>
        </pc:grpChg>
        <pc:grpChg chg="add mod">
          <ac:chgData name="Otavio Augusto Sabia Gava" userId="68ac195b-011b-467c-86d4-321df89323d0" providerId="ADAL" clId="{0C687AD9-2800-41E2-AA69-D02ABC7EDD76}" dt="2023-11-20T20:39:36.852" v="6902" actId="1076"/>
          <ac:grpSpMkLst>
            <pc:docMk/>
            <pc:sldMk cId="2544188981" sldId="3022"/>
            <ac:grpSpMk id="98" creationId="{443A6A5F-6739-12E5-668C-81746715EECA}"/>
          </ac:grpSpMkLst>
        </pc:grpChg>
        <pc:picChg chg="add mod">
          <ac:chgData name="Otavio Augusto Sabia Gava" userId="68ac195b-011b-467c-86d4-321df89323d0" providerId="ADAL" clId="{0C687AD9-2800-41E2-AA69-D02ABC7EDD76}" dt="2023-11-20T20:41:01.601" v="6925" actId="207"/>
          <ac:picMkLst>
            <pc:docMk/>
            <pc:sldMk cId="2544188981" sldId="3022"/>
            <ac:picMk id="4" creationId="{1B2584B1-85D1-C961-D411-BB2FE185189B}"/>
          </ac:picMkLst>
        </pc:picChg>
        <pc:picChg chg="add mod">
          <ac:chgData name="Otavio Augusto Sabia Gava" userId="68ac195b-011b-467c-86d4-321df89323d0" providerId="ADAL" clId="{0C687AD9-2800-41E2-AA69-D02ABC7EDD76}" dt="2023-11-20T20:41:05.492" v="6926" actId="207"/>
          <ac:picMkLst>
            <pc:docMk/>
            <pc:sldMk cId="2544188981" sldId="3022"/>
            <ac:picMk id="10" creationId="{E3F7B911-DCD6-D306-6D94-4BBE09E3802B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12" creationId="{011CF604-6A2D-0029-B76A-EF0A7325E1BD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14" creationId="{3C9D943E-8474-DD45-3EF3-B163C4EB897D}"/>
          </ac:picMkLst>
        </pc:picChg>
        <pc:picChg chg="add mod">
          <ac:chgData name="Otavio Augusto Sabia Gava" userId="68ac195b-011b-467c-86d4-321df89323d0" providerId="ADAL" clId="{0C687AD9-2800-41E2-AA69-D02ABC7EDD76}" dt="2023-11-20T20:40:57.181" v="6924" actId="207"/>
          <ac:picMkLst>
            <pc:docMk/>
            <pc:sldMk cId="2544188981" sldId="3022"/>
            <ac:picMk id="15" creationId="{DD52C12E-7309-6D42-AC06-A2D70CD0B411}"/>
          </ac:picMkLst>
        </pc:picChg>
        <pc:picChg chg="mod">
          <ac:chgData name="Otavio Augusto Sabia Gava" userId="68ac195b-011b-467c-86d4-321df89323d0" providerId="ADAL" clId="{0C687AD9-2800-41E2-AA69-D02ABC7EDD76}" dt="2023-11-20T20:39:33.569" v="6901"/>
          <ac:picMkLst>
            <pc:docMk/>
            <pc:sldMk cId="2544188981" sldId="3022"/>
            <ac:picMk id="19" creationId="{0880AE61-6628-F5E9-F867-47B3B09D9B7D}"/>
          </ac:picMkLst>
        </pc:picChg>
        <pc:picChg chg="mod">
          <ac:chgData name="Otavio Augusto Sabia Gava" userId="68ac195b-011b-467c-86d4-321df89323d0" providerId="ADAL" clId="{0C687AD9-2800-41E2-AA69-D02ABC7EDD76}" dt="2023-11-20T20:39:33.569" v="6901"/>
          <ac:picMkLst>
            <pc:docMk/>
            <pc:sldMk cId="2544188981" sldId="3022"/>
            <ac:picMk id="20" creationId="{E41FB360-CC1E-CFB4-0270-9A8AF7D5081F}"/>
          </ac:picMkLst>
        </pc:picChg>
        <pc:picChg chg="add mod ord">
          <ac:chgData name="Otavio Augusto Sabia Gava" userId="68ac195b-011b-467c-86d4-321df89323d0" providerId="ADAL" clId="{0C687AD9-2800-41E2-AA69-D02ABC7EDD76}" dt="2023-11-27T17:58:22.725" v="19131" actId="167"/>
          <ac:picMkLst>
            <pc:docMk/>
            <pc:sldMk cId="2544188981" sldId="3022"/>
            <ac:picMk id="21" creationId="{6D5CC0BC-A0CD-ED97-CBBB-7D7636009CC9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27" creationId="{0C690FFB-FDDD-2FC8-2144-88D96B622482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28" creationId="{9F407C77-8D99-68C1-6A9C-1DC3E6CC99C8}"/>
          </ac:picMkLst>
        </pc:picChg>
        <pc:picChg chg="add del mod">
          <ac:chgData name="Otavio Augusto Sabia Gava" userId="68ac195b-011b-467c-86d4-321df89323d0" providerId="ADAL" clId="{0C687AD9-2800-41E2-AA69-D02ABC7EDD76}" dt="2023-11-20T20:40:06.841" v="6907" actId="478"/>
          <ac:picMkLst>
            <pc:docMk/>
            <pc:sldMk cId="2544188981" sldId="3022"/>
            <ac:picMk id="30" creationId="{C140499C-2B05-13BC-A59F-C0288D74806F}"/>
          </ac:picMkLst>
        </pc:picChg>
        <pc:picChg chg="add mod">
          <ac:chgData name="Otavio Augusto Sabia Gava" userId="68ac195b-011b-467c-86d4-321df89323d0" providerId="ADAL" clId="{0C687AD9-2800-41E2-AA69-D02ABC7EDD76}" dt="2023-11-20T20:40:25.240" v="6911" actId="1076"/>
          <ac:picMkLst>
            <pc:docMk/>
            <pc:sldMk cId="2544188981" sldId="3022"/>
            <ac:picMk id="31" creationId="{C92657ED-25E0-EDEF-B2C8-0D6E6600976D}"/>
          </ac:picMkLst>
        </pc:picChg>
        <pc:picChg chg="mod">
          <ac:chgData name="Otavio Augusto Sabia Gava" userId="68ac195b-011b-467c-86d4-321df89323d0" providerId="ADAL" clId="{0C687AD9-2800-41E2-AA69-D02ABC7EDD76}" dt="2023-11-20T20:39:33.569" v="6901"/>
          <ac:picMkLst>
            <pc:docMk/>
            <pc:sldMk cId="2544188981" sldId="3022"/>
            <ac:picMk id="34" creationId="{4BA342C4-980B-14FC-FC84-60F832C0C060}"/>
          </ac:picMkLst>
        </pc:picChg>
        <pc:picChg chg="add del">
          <ac:chgData name="Otavio Augusto Sabia Gava" userId="68ac195b-011b-467c-86d4-321df89323d0" providerId="ADAL" clId="{0C687AD9-2800-41E2-AA69-D02ABC7EDD76}" dt="2023-11-20T20:39:25.523" v="6897" actId="478"/>
          <ac:picMkLst>
            <pc:docMk/>
            <pc:sldMk cId="2544188981" sldId="3022"/>
            <ac:picMk id="36" creationId="{D6619126-445B-E463-028C-E219D0A9F509}"/>
          </ac:picMkLst>
        </pc:picChg>
        <pc:picChg chg="add del">
          <ac:chgData name="Otavio Augusto Sabia Gava" userId="68ac195b-011b-467c-86d4-321df89323d0" providerId="ADAL" clId="{0C687AD9-2800-41E2-AA69-D02ABC7EDD76}" dt="2023-11-20T20:39:25.523" v="6897" actId="478"/>
          <ac:picMkLst>
            <pc:docMk/>
            <pc:sldMk cId="2544188981" sldId="3022"/>
            <ac:picMk id="41" creationId="{89C925BA-7BBC-50BB-52D4-756F4DE44A21}"/>
          </ac:picMkLst>
        </pc:picChg>
        <pc:picChg chg="add del">
          <ac:chgData name="Otavio Augusto Sabia Gava" userId="68ac195b-011b-467c-86d4-321df89323d0" providerId="ADAL" clId="{0C687AD9-2800-41E2-AA69-D02ABC7EDD76}" dt="2023-11-20T20:39:25.523" v="6897" actId="478"/>
          <ac:picMkLst>
            <pc:docMk/>
            <pc:sldMk cId="2544188981" sldId="3022"/>
            <ac:picMk id="42" creationId="{54EACB8F-0CF8-1597-5D75-D1B849EF695A}"/>
          </ac:picMkLst>
        </pc:picChg>
        <pc:picChg chg="add del">
          <ac:chgData name="Otavio Augusto Sabia Gava" userId="68ac195b-011b-467c-86d4-321df89323d0" providerId="ADAL" clId="{0C687AD9-2800-41E2-AA69-D02ABC7EDD76}" dt="2023-11-20T20:39:24.135" v="6896" actId="478"/>
          <ac:picMkLst>
            <pc:docMk/>
            <pc:sldMk cId="2544188981" sldId="3022"/>
            <ac:picMk id="49" creationId="{E2D18E05-3269-276D-83F1-DE9BFAEEDE16}"/>
          </ac:picMkLst>
        </pc:picChg>
        <pc:picChg chg="add del">
          <ac:chgData name="Otavio Augusto Sabia Gava" userId="68ac195b-011b-467c-86d4-321df89323d0" providerId="ADAL" clId="{0C687AD9-2800-41E2-AA69-D02ABC7EDD76}" dt="2023-11-20T20:39:24.135" v="6896" actId="478"/>
          <ac:picMkLst>
            <pc:docMk/>
            <pc:sldMk cId="2544188981" sldId="3022"/>
            <ac:picMk id="57" creationId="{59709516-FC97-331C-74C0-D2D069868834}"/>
          </ac:picMkLst>
        </pc:picChg>
        <pc:picChg chg="add del">
          <ac:chgData name="Otavio Augusto Sabia Gava" userId="68ac195b-011b-467c-86d4-321df89323d0" providerId="ADAL" clId="{0C687AD9-2800-41E2-AA69-D02ABC7EDD76}" dt="2023-11-20T20:39:24.135" v="6896" actId="478"/>
          <ac:picMkLst>
            <pc:docMk/>
            <pc:sldMk cId="2544188981" sldId="3022"/>
            <ac:picMk id="59" creationId="{FB8399F3-BE3A-0539-094B-F2B1CC88A369}"/>
          </ac:picMkLst>
        </pc:picChg>
        <pc:picChg chg="add del">
          <ac:chgData name="Otavio Augusto Sabia Gava" userId="68ac195b-011b-467c-86d4-321df89323d0" providerId="ADAL" clId="{0C687AD9-2800-41E2-AA69-D02ABC7EDD76}" dt="2023-11-20T20:39:25.523" v="6897" actId="478"/>
          <ac:picMkLst>
            <pc:docMk/>
            <pc:sldMk cId="2544188981" sldId="3022"/>
            <ac:picMk id="64" creationId="{53E91D38-3044-2066-015B-CA9D93A33B75}"/>
          </ac:picMkLst>
        </pc:picChg>
        <pc:picChg chg="add del">
          <ac:chgData name="Otavio Augusto Sabia Gava" userId="68ac195b-011b-467c-86d4-321df89323d0" providerId="ADAL" clId="{0C687AD9-2800-41E2-AA69-D02ABC7EDD76}" dt="2023-11-20T20:39:25.523" v="6897" actId="478"/>
          <ac:picMkLst>
            <pc:docMk/>
            <pc:sldMk cId="2544188981" sldId="3022"/>
            <ac:picMk id="70" creationId="{98446ECB-E0FA-FE1F-1970-496292776FDB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71" creationId="{D4F83692-F29E-06E2-6FB8-05EAFB10CD5B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72" creationId="{FA341C43-984E-33C7-247B-5430D4DCD690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73" creationId="{8B7CE46D-BCB1-96AC-CE88-DE6C2C3B4C35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74" creationId="{E6DE8767-3846-DCB5-C578-E71D2C15032D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78" creationId="{B2C6B5BD-93E1-AE87-4177-A13F16F2B27E}"/>
          </ac:picMkLst>
        </pc:picChg>
        <pc:picChg chg="add mod">
          <ac:chgData name="Otavio Augusto Sabia Gava" userId="68ac195b-011b-467c-86d4-321df89323d0" providerId="ADAL" clId="{0C687AD9-2800-41E2-AA69-D02ABC7EDD76}" dt="2023-11-20T20:39:53.385" v="6906" actId="1038"/>
          <ac:picMkLst>
            <pc:docMk/>
            <pc:sldMk cId="2544188981" sldId="3022"/>
            <ac:picMk id="79" creationId="{CE956C7B-CF0B-15A9-6052-91BBDE4ED363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80" creationId="{4F3B818D-47CD-63A7-E024-D019CD366A9F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83" creationId="{B4617EA2-5E3F-5DAF-2775-C88EA3CF36EA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84" creationId="{FCD93ADB-E024-ACE4-3941-921BC4FC3123}"/>
          </ac:picMkLst>
        </pc:picChg>
        <pc:picChg chg="add del mod">
          <ac:chgData name="Otavio Augusto Sabia Gava" userId="68ac195b-011b-467c-86d4-321df89323d0" providerId="ADAL" clId="{0C687AD9-2800-41E2-AA69-D02ABC7EDD76}" dt="2023-11-28T19:47:20.234" v="21755"/>
          <ac:picMkLst>
            <pc:docMk/>
            <pc:sldMk cId="2544188981" sldId="3022"/>
            <ac:picMk id="90" creationId="{A307619D-7E7E-9AF2-AC93-1D1D7315D7E7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95" creationId="{2E762893-ABD9-FCB1-0686-BA25DCED0566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96" creationId="{259AE8DE-C175-3079-D976-28C12C9434A4}"/>
          </ac:picMkLst>
        </pc:picChg>
        <pc:picChg chg="add mod">
          <ac:chgData name="Otavio Augusto Sabia Gava" userId="68ac195b-011b-467c-86d4-321df89323d0" providerId="ADAL" clId="{0C687AD9-2800-41E2-AA69-D02ABC7EDD76}" dt="2023-11-20T20:39:36.852" v="6902" actId="1076"/>
          <ac:picMkLst>
            <pc:docMk/>
            <pc:sldMk cId="2544188981" sldId="3022"/>
            <ac:picMk id="105" creationId="{D9C65EF0-7634-2230-B86C-654D4359B584}"/>
          </ac:picMkLst>
        </pc:picChg>
        <pc:picChg chg="add mod">
          <ac:chgData name="Otavio Augusto Sabia Gava" userId="68ac195b-011b-467c-86d4-321df89323d0" providerId="ADAL" clId="{0C687AD9-2800-41E2-AA69-D02ABC7EDD76}" dt="2023-11-20T20:40:44.175" v="6921" actId="1035"/>
          <ac:picMkLst>
            <pc:docMk/>
            <pc:sldMk cId="2544188981" sldId="3022"/>
            <ac:picMk id="107" creationId="{A395812D-F699-658C-2996-518CA3DF7A58}"/>
          </ac:picMkLst>
        </pc:picChg>
        <pc:inkChg chg="add mod">
          <ac:chgData name="Otavio Augusto Sabia Gava" userId="68ac195b-011b-467c-86d4-321df89323d0" providerId="ADAL" clId="{0C687AD9-2800-41E2-AA69-D02ABC7EDD76}" dt="2023-11-20T20:39:36.852" v="6902" actId="1076"/>
          <ac:inkMkLst>
            <pc:docMk/>
            <pc:sldMk cId="2544188981" sldId="3022"/>
            <ac:inkMk id="91" creationId="{95B9C568-66AE-33CC-E706-26F6B28E0CBB}"/>
          </ac:inkMkLst>
        </pc:inkChg>
        <pc:inkChg chg="mod">
          <ac:chgData name="Otavio Augusto Sabia Gava" userId="68ac195b-011b-467c-86d4-321df89323d0" providerId="ADAL" clId="{0C687AD9-2800-41E2-AA69-D02ABC7EDD76}" dt="2023-11-20T20:39:33.569" v="6901"/>
          <ac:inkMkLst>
            <pc:docMk/>
            <pc:sldMk cId="2544188981" sldId="3022"/>
            <ac:inkMk id="99" creationId="{11435186-8D97-A4BD-2AC9-9BE2F2816B28}"/>
          </ac:inkMkLst>
        </pc:inkChg>
        <pc:inkChg chg="mod">
          <ac:chgData name="Otavio Augusto Sabia Gava" userId="68ac195b-011b-467c-86d4-321df89323d0" providerId="ADAL" clId="{0C687AD9-2800-41E2-AA69-D02ABC7EDD76}" dt="2023-11-20T20:39:33.569" v="6901"/>
          <ac:inkMkLst>
            <pc:docMk/>
            <pc:sldMk cId="2544188981" sldId="3022"/>
            <ac:inkMk id="100" creationId="{E1C4EEC3-6505-A53C-6E04-B51666329F29}"/>
          </ac:inkMkLst>
        </pc:inkChg>
        <pc:inkChg chg="mod">
          <ac:chgData name="Otavio Augusto Sabia Gava" userId="68ac195b-011b-467c-86d4-321df89323d0" providerId="ADAL" clId="{0C687AD9-2800-41E2-AA69-D02ABC7EDD76}" dt="2023-11-20T20:39:33.569" v="6901"/>
          <ac:inkMkLst>
            <pc:docMk/>
            <pc:sldMk cId="2544188981" sldId="3022"/>
            <ac:inkMk id="101" creationId="{D4E153D9-710C-91F3-B803-9B376096E6FD}"/>
          </ac:inkMkLst>
        </pc:inkChg>
        <pc:inkChg chg="mod">
          <ac:chgData name="Otavio Augusto Sabia Gava" userId="68ac195b-011b-467c-86d4-321df89323d0" providerId="ADAL" clId="{0C687AD9-2800-41E2-AA69-D02ABC7EDD76}" dt="2023-11-20T20:39:33.569" v="6901"/>
          <ac:inkMkLst>
            <pc:docMk/>
            <pc:sldMk cId="2544188981" sldId="3022"/>
            <ac:inkMk id="102" creationId="{742DFADC-9622-AB4D-D7D5-044222A0F8BA}"/>
          </ac:inkMkLst>
        </pc:inkChg>
        <pc:inkChg chg="mod">
          <ac:chgData name="Otavio Augusto Sabia Gava" userId="68ac195b-011b-467c-86d4-321df89323d0" providerId="ADAL" clId="{0C687AD9-2800-41E2-AA69-D02ABC7EDD76}" dt="2023-11-20T20:39:33.569" v="6901"/>
          <ac:inkMkLst>
            <pc:docMk/>
            <pc:sldMk cId="2544188981" sldId="3022"/>
            <ac:inkMk id="103" creationId="{850704DF-BE9B-061F-7CBB-81FF56EEBF98}"/>
          </ac:inkMkLst>
        </pc:ink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3" creationId="{D90E255F-B2AA-0567-444E-2B34207B241D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6" creationId="{71F37048-2EB3-853C-C7A3-C58CCB2E1CE8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11" creationId="{055076A9-8DFE-B3A0-8953-0E91CBFBFEAE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26" creationId="{67DEEEE0-D83F-2BC3-2BFC-024FB63A33AF}"/>
          </ac:cxnSpMkLst>
        </pc:cxnChg>
        <pc:cxnChg chg="add del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37" creationId="{6AC1C71E-DC6B-2685-81CD-C00259E4CEA3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39" creationId="{309646FC-0B5A-2C69-9971-D6BCD54300BE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43" creationId="{7DB5CAD2-FE2D-0535-354A-C36A9D37EC2A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44" creationId="{1AA6F98A-2BEA-B6BC-A49D-2CC0738543C7}"/>
          </ac:cxnSpMkLst>
        </pc:cxnChg>
        <pc:cxnChg chg="add del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46" creationId="{4CBF3436-1C9C-746B-1DD9-C2B888FD9449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47" creationId="{66244ED4-A691-8F1B-F3D8-1C9BDFEBB322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48" creationId="{4ACABEF3-2AF1-8708-A9D1-C50CF240C415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50" creationId="{FC4C0829-0F26-47FF-8C0A-B0D2747C817C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52" creationId="{3A5A12C4-C37A-4E2E-59AA-A2AA9D4C4481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53" creationId="{656A0930-3AAA-A0F7-438F-4F51E72DF7B4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55" creationId="{22BC17CD-0D60-07DD-9E88-0DE481CC5A0B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58" creationId="{1B115969-F521-BD4C-6436-5D2E8902399A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60" creationId="{E9C9A890-31C9-D7C3-1725-9F7E0BEA8990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61" creationId="{B3C693B2-79B8-09B4-DBDC-A8F0003A5EE9}"/>
          </ac:cxnSpMkLst>
        </pc:cxnChg>
        <pc:cxnChg chg="add del mod">
          <ac:chgData name="Otavio Augusto Sabia Gava" userId="68ac195b-011b-467c-86d4-321df89323d0" providerId="ADAL" clId="{0C687AD9-2800-41E2-AA69-D02ABC7EDD76}" dt="2023-11-20T20:39:24.135" v="6896" actId="478"/>
          <ac:cxnSpMkLst>
            <pc:docMk/>
            <pc:sldMk cId="2544188981" sldId="3022"/>
            <ac:cxnSpMk id="63" creationId="{482A9C29-C737-C264-9A4C-707E6D02B5E8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68" creationId="{448AE258-75A4-A497-EF62-EB2E4D2755E5}"/>
          </ac:cxnSpMkLst>
        </pc:cxnChg>
        <pc:cxnChg chg="add del mod">
          <ac:chgData name="Otavio Augusto Sabia Gava" userId="68ac195b-011b-467c-86d4-321df89323d0" providerId="ADAL" clId="{0C687AD9-2800-41E2-AA69-D02ABC7EDD76}" dt="2023-11-20T20:39:25.523" v="6897" actId="478"/>
          <ac:cxnSpMkLst>
            <pc:docMk/>
            <pc:sldMk cId="2544188981" sldId="3022"/>
            <ac:cxnSpMk id="69" creationId="{D468B46E-E699-A323-B2C2-98DDFD1A2195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75" creationId="{692EF043-93C0-BA33-0B58-8332F2E0BE4F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77" creationId="{FDF53B3F-1425-8B7F-4AA8-2B215728074C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82" creationId="{338C4FC0-04D4-5246-B74F-6F47137FEBE3}"/>
          </ac:cxnSpMkLst>
        </pc:cxnChg>
        <pc:cxnChg chg="add mod">
          <ac:chgData name="Otavio Augusto Sabia Gava" userId="68ac195b-011b-467c-86d4-321df89323d0" providerId="ADAL" clId="{0C687AD9-2800-41E2-AA69-D02ABC7EDD76}" dt="2023-11-20T20:40:52.655" v="6923" actId="1076"/>
          <ac:cxnSpMkLst>
            <pc:docMk/>
            <pc:sldMk cId="2544188981" sldId="3022"/>
            <ac:cxnSpMk id="87" creationId="{783D478C-E7B8-FAF4-C004-788D8C11F4E3}"/>
          </ac:cxnSpMkLst>
        </pc:cxnChg>
        <pc:cxnChg chg="add mod">
          <ac:chgData name="Otavio Augusto Sabia Gava" userId="68ac195b-011b-467c-86d4-321df89323d0" providerId="ADAL" clId="{0C687AD9-2800-41E2-AA69-D02ABC7EDD76}" dt="2023-11-20T20:39:36.852" v="6902" actId="1076"/>
          <ac:cxnSpMkLst>
            <pc:docMk/>
            <pc:sldMk cId="2544188981" sldId="3022"/>
            <ac:cxnSpMk id="89" creationId="{EC86B279-068A-0B6D-3D90-FB2CFE60067A}"/>
          </ac:cxnSpMkLst>
        </pc:cxn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1023591620" sldId="3023"/>
        </pc:sldMkLst>
        <pc:spChg chg="add mod">
          <ac:chgData name="Otavio Augusto Sabia Gava" userId="68ac195b-011b-467c-86d4-321df89323d0" providerId="ADAL" clId="{0C687AD9-2800-41E2-AA69-D02ABC7EDD76}" dt="2023-11-20T20:58:59.516" v="8027" actId="20577"/>
          <ac:spMkLst>
            <pc:docMk/>
            <pc:sldMk cId="1023591620" sldId="3023"/>
            <ac:spMk id="2" creationId="{69FB78DA-AF04-2040-62A6-9193D3D0C0B5}"/>
          </ac:spMkLst>
        </pc:spChg>
        <pc:spChg chg="mod">
          <ac:chgData name="Otavio Augusto Sabia Gava" userId="68ac195b-011b-467c-86d4-321df89323d0" providerId="ADAL" clId="{0C687AD9-2800-41E2-AA69-D02ABC7EDD76}" dt="2023-11-20T21:04:38.978" v="8064" actId="20577"/>
          <ac:spMkLst>
            <pc:docMk/>
            <pc:sldMk cId="1023591620" sldId="3023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8" creationId="{5C810BC3-E2F3-6AE7-73C3-0DAEC8E844FF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16" creationId="{B9901D37-9117-80C9-CD33-63AF921463AA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22" creationId="{92D31DC0-9270-C666-8F02-2BFDF61F6DE1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29" creationId="{2FDDE962-E3EB-A406-E329-9A81BABA25E2}"/>
          </ac:spMkLst>
        </pc:spChg>
        <pc:spChg chg="add del mod">
          <ac:chgData name="Otavio Augusto Sabia Gava" userId="68ac195b-011b-467c-86d4-321df89323d0" providerId="ADAL" clId="{0C687AD9-2800-41E2-AA69-D02ABC7EDD76}" dt="2023-11-20T21:03:03.934" v="8030" actId="478"/>
          <ac:spMkLst>
            <pc:docMk/>
            <pc:sldMk cId="1023591620" sldId="3023"/>
            <ac:spMk id="30" creationId="{F77AD045-FCD8-17B4-A833-EC25ECEEA4C0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35" creationId="{4A3C5AAC-2909-07FD-7399-5029EC63A404}"/>
          </ac:spMkLst>
        </pc:spChg>
        <pc:spChg chg="add del mod">
          <ac:chgData name="Otavio Augusto Sabia Gava" userId="68ac195b-011b-467c-86d4-321df89323d0" providerId="ADAL" clId="{0C687AD9-2800-41E2-AA69-D02ABC7EDD76}" dt="2023-11-20T21:03:03.934" v="8030" actId="478"/>
          <ac:spMkLst>
            <pc:docMk/>
            <pc:sldMk cId="1023591620" sldId="3023"/>
            <ac:spMk id="39" creationId="{848C72FA-49A0-DD89-AA65-E83E87DE0D14}"/>
          </ac:spMkLst>
        </pc:spChg>
        <pc:spChg chg="add del mod">
          <ac:chgData name="Otavio Augusto Sabia Gava" userId="68ac195b-011b-467c-86d4-321df89323d0" providerId="ADAL" clId="{0C687AD9-2800-41E2-AA69-D02ABC7EDD76}" dt="2023-11-20T21:03:03.934" v="8030" actId="478"/>
          <ac:spMkLst>
            <pc:docMk/>
            <pc:sldMk cId="1023591620" sldId="3023"/>
            <ac:spMk id="40" creationId="{0C2A2657-2892-4942-7A71-4231D07860F9}"/>
          </ac:spMkLst>
        </pc:spChg>
        <pc:spChg chg="add mod">
          <ac:chgData name="Otavio Augusto Sabia Gava" userId="68ac195b-011b-467c-86d4-321df89323d0" providerId="ADAL" clId="{0C687AD9-2800-41E2-AA69-D02ABC7EDD76}" dt="2023-11-20T21:03:58.266" v="8051" actId="1036"/>
          <ac:spMkLst>
            <pc:docMk/>
            <pc:sldMk cId="1023591620" sldId="3023"/>
            <ac:spMk id="41" creationId="{92AAD086-F241-DF24-9171-545E4E9DACBA}"/>
          </ac:spMkLst>
        </pc:spChg>
        <pc:spChg chg="add mod">
          <ac:chgData name="Otavio Augusto Sabia Gava" userId="68ac195b-011b-467c-86d4-321df89323d0" providerId="ADAL" clId="{0C687AD9-2800-41E2-AA69-D02ABC7EDD76}" dt="2023-11-20T21:03:39.008" v="8043" actId="1076"/>
          <ac:spMkLst>
            <pc:docMk/>
            <pc:sldMk cId="1023591620" sldId="3023"/>
            <ac:spMk id="42" creationId="{9698A38A-4012-6C59-9586-AFD013678744}"/>
          </ac:spMkLst>
        </pc:spChg>
        <pc:spChg chg="add mod">
          <ac:chgData name="Otavio Augusto Sabia Gava" userId="68ac195b-011b-467c-86d4-321df89323d0" providerId="ADAL" clId="{0C687AD9-2800-41E2-AA69-D02ABC7EDD76}" dt="2023-11-20T21:03:41.542" v="8044" actId="1035"/>
          <ac:spMkLst>
            <pc:docMk/>
            <pc:sldMk cId="1023591620" sldId="3023"/>
            <ac:spMk id="43" creationId="{07EB248E-E7E4-B884-8D85-91461B57B9E9}"/>
          </ac:spMkLst>
        </pc:spChg>
        <pc:spChg chg="add mod">
          <ac:chgData name="Otavio Augusto Sabia Gava" userId="68ac195b-011b-467c-86d4-321df89323d0" providerId="ADAL" clId="{0C687AD9-2800-41E2-AA69-D02ABC7EDD76}" dt="2023-11-30T14:47:11.184" v="29936" actId="207"/>
          <ac:spMkLst>
            <pc:docMk/>
            <pc:sldMk cId="1023591620" sldId="3023"/>
            <ac:spMk id="45" creationId="{C4E72D3D-F68F-C5BE-B336-6A86CD0E8B80}"/>
          </ac:spMkLst>
        </pc:spChg>
        <pc:spChg chg="add mod">
          <ac:chgData name="Otavio Augusto Sabia Gava" userId="68ac195b-011b-467c-86d4-321df89323d0" providerId="ADAL" clId="{0C687AD9-2800-41E2-AA69-D02ABC7EDD76}" dt="2023-11-30T14:47:11.184" v="29936" actId="207"/>
          <ac:spMkLst>
            <pc:docMk/>
            <pc:sldMk cId="1023591620" sldId="3023"/>
            <ac:spMk id="46" creationId="{DCFA3635-FDE7-1448-BA8B-1F19857099BC}"/>
          </ac:spMkLst>
        </pc:spChg>
        <pc:spChg chg="add mod">
          <ac:chgData name="Otavio Augusto Sabia Gava" userId="68ac195b-011b-467c-86d4-321df89323d0" providerId="ADAL" clId="{0C687AD9-2800-41E2-AA69-D02ABC7EDD76}" dt="2023-11-30T14:47:11.184" v="29936" actId="207"/>
          <ac:spMkLst>
            <pc:docMk/>
            <pc:sldMk cId="1023591620" sldId="3023"/>
            <ac:spMk id="47" creationId="{1BA642AD-B2A2-431C-8D89-DFFC130BB26E}"/>
          </ac:spMkLst>
        </pc:spChg>
        <pc:spChg chg="del">
          <ac:chgData name="Otavio Augusto Sabia Gava" userId="68ac195b-011b-467c-86d4-321df89323d0" providerId="ADAL" clId="{0C687AD9-2800-41E2-AA69-D02ABC7EDD76}" dt="2023-11-20T20:58:32.495" v="8020" actId="478"/>
          <ac:spMkLst>
            <pc:docMk/>
            <pc:sldMk cId="1023591620" sldId="3023"/>
            <ac:spMk id="76" creationId="{D0B4F9EC-1D47-06C2-8642-7B4E8928F6FE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81" creationId="{D70B4C46-4274-EAE8-4DEC-AC755587DFE5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85" creationId="{2201D97A-8031-DA44-13EE-3BC4E018507B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86" creationId="{2E9DC91C-2284-E5A8-C02A-785AA45B0B7C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88" creationId="{8DE55F6E-B6B8-AE28-C07F-7CD319CFA62E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92" creationId="{E020CE84-BF09-30AA-A260-0B7F70AE456D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93" creationId="{243BA35B-9045-4B73-67CC-5CD548DEBCEE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94" creationId="{6C7F93B6-C3D9-02D6-F22E-5BA37836EC18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97" creationId="{348854A1-9835-3AE8-5AFE-94F6E0DAB51F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106" creationId="{B8B9CA9D-DB55-F043-0B26-48EDDAC900FC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108" creationId="{0505A1FD-4180-E886-025A-2BD73EE7A114}"/>
          </ac:spMkLst>
        </pc:spChg>
        <pc:spChg chg="del">
          <ac:chgData name="Otavio Augusto Sabia Gava" userId="68ac195b-011b-467c-86d4-321df89323d0" providerId="ADAL" clId="{0C687AD9-2800-41E2-AA69-D02ABC7EDD76}" dt="2023-11-20T20:58:30.907" v="8019" actId="478"/>
          <ac:spMkLst>
            <pc:docMk/>
            <pc:sldMk cId="1023591620" sldId="3023"/>
            <ac:spMk id="109" creationId="{A18583AA-30D0-4444-DD43-9210588DA8EC}"/>
          </ac:spMkLst>
        </pc:spChg>
        <pc:grpChg chg="add del mod">
          <ac:chgData name="Otavio Augusto Sabia Gava" userId="68ac195b-011b-467c-86d4-321df89323d0" providerId="ADAL" clId="{0C687AD9-2800-41E2-AA69-D02ABC7EDD76}" dt="2023-11-20T21:03:03.934" v="8030" actId="478"/>
          <ac:grpSpMkLst>
            <pc:docMk/>
            <pc:sldMk cId="1023591620" sldId="3023"/>
            <ac:grpSpMk id="7" creationId="{A8E08202-B746-F9FC-075D-CF898FB3525C}"/>
          </ac:grpSpMkLst>
        </pc:grpChg>
        <pc:grpChg chg="del">
          <ac:chgData name="Otavio Augusto Sabia Gava" userId="68ac195b-011b-467c-86d4-321df89323d0" providerId="ADAL" clId="{0C687AD9-2800-41E2-AA69-D02ABC7EDD76}" dt="2023-11-20T20:58:30.907" v="8019" actId="478"/>
          <ac:grpSpMkLst>
            <pc:docMk/>
            <pc:sldMk cId="1023591620" sldId="3023"/>
            <ac:grpSpMk id="17" creationId="{B5E80A2F-7C55-9D13-E582-E066786F0383}"/>
          </ac:grpSpMkLst>
        </pc:grpChg>
        <pc:grpChg chg="del">
          <ac:chgData name="Otavio Augusto Sabia Gava" userId="68ac195b-011b-467c-86d4-321df89323d0" providerId="ADAL" clId="{0C687AD9-2800-41E2-AA69-D02ABC7EDD76}" dt="2023-11-20T20:58:30.907" v="8019" actId="478"/>
          <ac:grpSpMkLst>
            <pc:docMk/>
            <pc:sldMk cId="1023591620" sldId="3023"/>
            <ac:grpSpMk id="32" creationId="{4E0682F0-ACAC-3EF5-0DE7-8E78F07EB3BA}"/>
          </ac:grpSpMkLst>
        </pc:grpChg>
        <pc:grpChg chg="del">
          <ac:chgData name="Otavio Augusto Sabia Gava" userId="68ac195b-011b-467c-86d4-321df89323d0" providerId="ADAL" clId="{0C687AD9-2800-41E2-AA69-D02ABC7EDD76}" dt="2023-11-20T20:58:30.907" v="8019" actId="478"/>
          <ac:grpSpMkLst>
            <pc:docMk/>
            <pc:sldMk cId="1023591620" sldId="3023"/>
            <ac:grpSpMk id="98" creationId="{443A6A5F-6739-12E5-668C-81746715EECA}"/>
          </ac:grpSpMkLst>
        </pc:grpChg>
        <pc:graphicFrameChg chg="add del mod">
          <ac:chgData name="Otavio Augusto Sabia Gava" userId="68ac195b-011b-467c-86d4-321df89323d0" providerId="ADAL" clId="{0C687AD9-2800-41E2-AA69-D02ABC7EDD76}" dt="2023-11-20T21:03:03.934" v="8030" actId="478"/>
          <ac:graphicFrameMkLst>
            <pc:docMk/>
            <pc:sldMk cId="1023591620" sldId="3023"/>
            <ac:graphicFrameMk id="36" creationId="{C682880D-67C7-FC8F-B12A-F227C5F1A991}"/>
          </ac:graphicFrameMkLst>
        </pc:graphicFrameChg>
        <pc:graphicFrameChg chg="add del mod">
          <ac:chgData name="Otavio Augusto Sabia Gava" userId="68ac195b-011b-467c-86d4-321df89323d0" providerId="ADAL" clId="{0C687AD9-2800-41E2-AA69-D02ABC7EDD76}" dt="2023-11-20T21:03:03.934" v="8030" actId="478"/>
          <ac:graphicFrameMkLst>
            <pc:docMk/>
            <pc:sldMk cId="1023591620" sldId="3023"/>
            <ac:graphicFrameMk id="37" creationId="{D92CEF29-486C-FECD-F7E2-2A18CF391137}"/>
          </ac:graphicFrameMkLst>
        </pc:graphicFrameChg>
        <pc:graphicFrameChg chg="add del mod">
          <ac:chgData name="Otavio Augusto Sabia Gava" userId="68ac195b-011b-467c-86d4-321df89323d0" providerId="ADAL" clId="{0C687AD9-2800-41E2-AA69-D02ABC7EDD76}" dt="2023-11-20T21:03:03.934" v="8030" actId="478"/>
          <ac:graphicFrameMkLst>
            <pc:docMk/>
            <pc:sldMk cId="1023591620" sldId="3023"/>
            <ac:graphicFrameMk id="38" creationId="{D9E1D54C-7269-92A4-F177-73E6E05BD911}"/>
          </ac:graphicFrameMkLst>
        </pc:graphicFrame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4" creationId="{1B2584B1-85D1-C961-D411-BB2FE185189B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9" creationId="{1D58B81C-82FF-3D94-E788-AD889BBF70DF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10" creationId="{E3F7B911-DCD6-D306-6D94-4BBE09E3802B}"/>
          </ac:picMkLst>
        </pc:picChg>
        <pc:picChg chg="del">
          <ac:chgData name="Otavio Augusto Sabia Gava" userId="68ac195b-011b-467c-86d4-321df89323d0" providerId="ADAL" clId="{0C687AD9-2800-41E2-AA69-D02ABC7EDD76}" dt="2023-11-20T20:58:32.495" v="8020" actId="478"/>
          <ac:picMkLst>
            <pc:docMk/>
            <pc:sldMk cId="1023591620" sldId="3023"/>
            <ac:picMk id="12" creationId="{011CF604-6A2D-0029-B76A-EF0A7325E1BD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13" creationId="{89EC1EE3-3DE3-CA4C-FA2B-40536FB607A7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14" creationId="{3C9D943E-8474-DD45-3EF3-B163C4EB897D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15" creationId="{DD52C12E-7309-6D42-AC06-A2D70CD0B411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21" creationId="{6D5CC0BC-A0CD-ED97-CBBB-7D7636009CC9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23" creationId="{D7093EF4-ABB3-7A6F-5D7E-C1E7307FC60F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24" creationId="{1D768BB8-3685-C602-5A34-953C5F0B7262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25" creationId="{DCFA9CCF-496B-62E8-29E7-98907B402E78}"/>
          </ac:picMkLst>
        </pc:picChg>
        <pc:picChg chg="mod">
          <ac:chgData name="Otavio Augusto Sabia Gava" userId="68ac195b-011b-467c-86d4-321df89323d0" providerId="ADAL" clId="{0C687AD9-2800-41E2-AA69-D02ABC7EDD76}" dt="2023-11-20T20:59:13.164" v="8029" actId="1076"/>
          <ac:picMkLst>
            <pc:docMk/>
            <pc:sldMk cId="1023591620" sldId="3023"/>
            <ac:picMk id="26" creationId="{F72ABCF7-6B24-0784-0097-B909F639C3C0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27" creationId="{0C690FFB-FDDD-2FC8-2144-88D96B622482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28" creationId="{9F407C77-8D99-68C1-6A9C-1DC3E6CC99C8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31" creationId="{C92657ED-25E0-EDEF-B2C8-0D6E6600976D}"/>
          </ac:picMkLst>
        </pc:picChg>
        <pc:picChg chg="add mod">
          <ac:chgData name="Otavio Augusto Sabia Gava" userId="68ac195b-011b-467c-86d4-321df89323d0" providerId="ADAL" clId="{0C687AD9-2800-41E2-AA69-D02ABC7EDD76}" dt="2023-11-20T21:04:09.152" v="8056" actId="1036"/>
          <ac:picMkLst>
            <pc:docMk/>
            <pc:sldMk cId="1023591620" sldId="3023"/>
            <ac:picMk id="44" creationId="{B66BAE7D-B7FD-12DC-734A-87F37C6D257F}"/>
          </ac:picMkLst>
        </pc:picChg>
        <pc:picChg chg="del">
          <ac:chgData name="Otavio Augusto Sabia Gava" userId="68ac195b-011b-467c-86d4-321df89323d0" providerId="ADAL" clId="{0C687AD9-2800-41E2-AA69-D02ABC7EDD76}" dt="2023-11-20T20:58:32.495" v="8020" actId="478"/>
          <ac:picMkLst>
            <pc:docMk/>
            <pc:sldMk cId="1023591620" sldId="3023"/>
            <ac:picMk id="71" creationId="{D4F83692-F29E-06E2-6FB8-05EAFB10CD5B}"/>
          </ac:picMkLst>
        </pc:picChg>
        <pc:picChg chg="del">
          <ac:chgData name="Otavio Augusto Sabia Gava" userId="68ac195b-011b-467c-86d4-321df89323d0" providerId="ADAL" clId="{0C687AD9-2800-41E2-AA69-D02ABC7EDD76}" dt="2023-11-20T20:58:32.495" v="8020" actId="478"/>
          <ac:picMkLst>
            <pc:docMk/>
            <pc:sldMk cId="1023591620" sldId="3023"/>
            <ac:picMk id="72" creationId="{FA341C43-984E-33C7-247B-5430D4DCD690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73" creationId="{8B7CE46D-BCB1-96AC-CE88-DE6C2C3B4C35}"/>
          </ac:picMkLst>
        </pc:picChg>
        <pc:picChg chg="del">
          <ac:chgData name="Otavio Augusto Sabia Gava" userId="68ac195b-011b-467c-86d4-321df89323d0" providerId="ADAL" clId="{0C687AD9-2800-41E2-AA69-D02ABC7EDD76}" dt="2023-11-20T20:58:32.495" v="8020" actId="478"/>
          <ac:picMkLst>
            <pc:docMk/>
            <pc:sldMk cId="1023591620" sldId="3023"/>
            <ac:picMk id="74" creationId="{E6DE8767-3846-DCB5-C578-E71D2C15032D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78" creationId="{B2C6B5BD-93E1-AE87-4177-A13F16F2B27E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79" creationId="{CE956C7B-CF0B-15A9-6052-91BBDE4ED363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80" creationId="{4F3B818D-47CD-63A7-E024-D019CD366A9F}"/>
          </ac:picMkLst>
        </pc:picChg>
        <pc:picChg chg="del">
          <ac:chgData name="Otavio Augusto Sabia Gava" userId="68ac195b-011b-467c-86d4-321df89323d0" providerId="ADAL" clId="{0C687AD9-2800-41E2-AA69-D02ABC7EDD76}" dt="2023-11-20T20:58:32.495" v="8020" actId="478"/>
          <ac:picMkLst>
            <pc:docMk/>
            <pc:sldMk cId="1023591620" sldId="3023"/>
            <ac:picMk id="83" creationId="{B4617EA2-5E3F-5DAF-2775-C88EA3CF36EA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84" creationId="{FCD93ADB-E024-ACE4-3941-921BC4FC3123}"/>
          </ac:picMkLst>
        </pc:picChg>
        <pc:picChg chg="mod">
          <ac:chgData name="Otavio Augusto Sabia Gava" userId="68ac195b-011b-467c-86d4-321df89323d0" providerId="ADAL" clId="{0C687AD9-2800-41E2-AA69-D02ABC7EDD76}" dt="2023-11-20T21:04:23.254" v="8057"/>
          <ac:picMkLst>
            <pc:docMk/>
            <pc:sldMk cId="1023591620" sldId="3023"/>
            <ac:picMk id="90" creationId="{A307619D-7E7E-9AF2-AC93-1D1D7315D7E7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95" creationId="{2E762893-ABD9-FCB1-0686-BA25DCED0566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96" creationId="{259AE8DE-C175-3079-D976-28C12C9434A4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105" creationId="{D9C65EF0-7634-2230-B86C-654D4359B584}"/>
          </ac:picMkLst>
        </pc:picChg>
        <pc:picChg chg="del">
          <ac:chgData name="Otavio Augusto Sabia Gava" userId="68ac195b-011b-467c-86d4-321df89323d0" providerId="ADAL" clId="{0C687AD9-2800-41E2-AA69-D02ABC7EDD76}" dt="2023-11-20T20:58:30.907" v="8019" actId="478"/>
          <ac:picMkLst>
            <pc:docMk/>
            <pc:sldMk cId="1023591620" sldId="3023"/>
            <ac:picMk id="107" creationId="{A395812D-F699-658C-2996-518CA3DF7A58}"/>
          </ac:picMkLst>
        </pc:picChg>
        <pc:inkChg chg="del">
          <ac:chgData name="Otavio Augusto Sabia Gava" userId="68ac195b-011b-467c-86d4-321df89323d0" providerId="ADAL" clId="{0C687AD9-2800-41E2-AA69-D02ABC7EDD76}" dt="2023-11-20T20:58:30.907" v="8019" actId="478"/>
          <ac:inkMkLst>
            <pc:docMk/>
            <pc:sldMk cId="1023591620" sldId="3023"/>
            <ac:inkMk id="91" creationId="{95B9C568-66AE-33CC-E706-26F6B28E0CBB}"/>
          </ac:inkMkLst>
        </pc:ink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3" creationId="{D90E255F-B2AA-0567-444E-2B34207B241D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6" creationId="{71F37048-2EB3-853C-C7A3-C58CCB2E1CE8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11" creationId="{055076A9-8DFE-B3A0-8953-0E91CBFBFEAE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75" creationId="{692EF043-93C0-BA33-0B58-8332F2E0BE4F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77" creationId="{FDF53B3F-1425-8B7F-4AA8-2B215728074C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82" creationId="{338C4FC0-04D4-5246-B74F-6F47137FEBE3}"/>
          </ac:cxnSpMkLst>
        </pc:cxnChg>
        <pc:cxnChg chg="del mod">
          <ac:chgData name="Otavio Augusto Sabia Gava" userId="68ac195b-011b-467c-86d4-321df89323d0" providerId="ADAL" clId="{0C687AD9-2800-41E2-AA69-D02ABC7EDD76}" dt="2023-11-20T20:58:32.495" v="8020" actId="478"/>
          <ac:cxnSpMkLst>
            <pc:docMk/>
            <pc:sldMk cId="1023591620" sldId="3023"/>
            <ac:cxnSpMk id="87" creationId="{783D478C-E7B8-FAF4-C004-788D8C11F4E3}"/>
          </ac:cxnSpMkLst>
        </pc:cxnChg>
        <pc:cxnChg chg="del">
          <ac:chgData name="Otavio Augusto Sabia Gava" userId="68ac195b-011b-467c-86d4-321df89323d0" providerId="ADAL" clId="{0C687AD9-2800-41E2-AA69-D02ABC7EDD76}" dt="2023-11-20T20:58:30.907" v="8019" actId="478"/>
          <ac:cxnSpMkLst>
            <pc:docMk/>
            <pc:sldMk cId="1023591620" sldId="3023"/>
            <ac:cxnSpMk id="89" creationId="{EC86B279-068A-0B6D-3D90-FB2CFE60067A}"/>
          </ac:cxnSpMkLst>
        </pc:cxn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4058232993" sldId="3024"/>
        </pc:sldMkLst>
        <pc:spChg chg="add del mod">
          <ac:chgData name="Otavio Augusto Sabia Gava" userId="68ac195b-011b-467c-86d4-321df89323d0" providerId="ADAL" clId="{0C687AD9-2800-41E2-AA69-D02ABC7EDD76}" dt="2023-11-27T18:21:44.006" v="19147"/>
          <ac:spMkLst>
            <pc:docMk/>
            <pc:sldMk cId="4058232993" sldId="3024"/>
            <ac:spMk id="2" creationId="{5EDCFB4A-DED4-5E9B-9772-A30B17CA0BC5}"/>
          </ac:spMkLst>
        </pc:spChg>
        <pc:spChg chg="add mod">
          <ac:chgData name="Otavio Augusto Sabia Gava" userId="68ac195b-011b-467c-86d4-321df89323d0" providerId="ADAL" clId="{0C687AD9-2800-41E2-AA69-D02ABC7EDD76}" dt="2023-11-21T00:02:30.415" v="8813" actId="207"/>
          <ac:spMkLst>
            <pc:docMk/>
            <pc:sldMk cId="4058232993" sldId="3024"/>
            <ac:spMk id="4" creationId="{CCB8091A-4BF0-C6D0-A724-E066F8F80495}"/>
          </ac:spMkLst>
        </pc:spChg>
        <pc:spChg chg="mod">
          <ac:chgData name="Otavio Augusto Sabia Gava" userId="68ac195b-011b-467c-86d4-321df89323d0" providerId="ADAL" clId="{0C687AD9-2800-41E2-AA69-D02ABC7EDD76}" dt="2023-11-21T00:07:49.303" v="8919" actId="20577"/>
          <ac:spMkLst>
            <pc:docMk/>
            <pc:sldMk cId="4058232993" sldId="3024"/>
            <ac:spMk id="5" creationId="{691BD817-ED31-4962-832B-1254437B69A3}"/>
          </ac:spMkLst>
        </pc:spChg>
        <pc:spChg chg="add del mod">
          <ac:chgData name="Otavio Augusto Sabia Gava" userId="68ac195b-011b-467c-86d4-321df89323d0" providerId="ADAL" clId="{0C687AD9-2800-41E2-AA69-D02ABC7EDD76}" dt="2023-11-27T18:21:44.006" v="19147"/>
          <ac:spMkLst>
            <pc:docMk/>
            <pc:sldMk cId="4058232993" sldId="3024"/>
            <ac:spMk id="7" creationId="{273E210A-EB57-A455-D7E7-7B7491D4446A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10" creationId="{61135FDF-950F-27BA-0D93-E63108362264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14" creationId="{26A9E4C8-F6C1-D703-2FF8-B931543E9F92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18" creationId="{A50F23F2-ABA4-D906-22D3-E441A8D3DB2F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22" creationId="{D4D6CFB9-1C82-A196-358A-C3412F7BC08C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25" creationId="{3EF9A1C7-2AAA-FDF7-D59D-75BCFC78F306}"/>
          </ac:spMkLst>
        </pc:spChg>
        <pc:spChg chg="add mod">
          <ac:chgData name="Otavio Augusto Sabia Gava" userId="68ac195b-011b-467c-86d4-321df89323d0" providerId="ADAL" clId="{0C687AD9-2800-41E2-AA69-D02ABC7EDD76}" dt="2023-11-21T00:00:56.060" v="8804" actId="208"/>
          <ac:spMkLst>
            <pc:docMk/>
            <pc:sldMk cId="4058232993" sldId="3024"/>
            <ac:spMk id="27" creationId="{C10D0C55-8D8F-ABCD-CD81-3D7CC51D0CE3}"/>
          </ac:spMkLst>
        </pc:spChg>
        <pc:spChg chg="add mod">
          <ac:chgData name="Otavio Augusto Sabia Gava" userId="68ac195b-011b-467c-86d4-321df89323d0" providerId="ADAL" clId="{0C687AD9-2800-41E2-AA69-D02ABC7EDD76}" dt="2023-11-21T00:04:01.172" v="8846" actId="1076"/>
          <ac:spMkLst>
            <pc:docMk/>
            <pc:sldMk cId="4058232993" sldId="3024"/>
            <ac:spMk id="28" creationId="{A00B7DD7-833B-2FD8-9E2B-E6BDF45B38C9}"/>
          </ac:spMkLst>
        </pc:spChg>
        <pc:spChg chg="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30" creationId="{A8D43FA0-DBC2-6158-C527-2F72F5A893AD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38" creationId="{DB69E4C5-C893-3A58-1AE9-D6332AB927F8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40" creationId="{E985372E-FD86-09B8-2D3B-3623753F841B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45" creationId="{E2844B45-5060-3800-B3B4-BEE4B6D7823F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51" creationId="{6B06994A-70C3-6DBF-E8AB-3208FF5A6306}"/>
          </ac:spMkLst>
        </pc:spChg>
        <pc:spChg chg="del">
          <ac:chgData name="Otavio Augusto Sabia Gava" userId="68ac195b-011b-467c-86d4-321df89323d0" providerId="ADAL" clId="{0C687AD9-2800-41E2-AA69-D02ABC7EDD76}" dt="2023-11-21T00:00:06.242" v="8802" actId="478"/>
          <ac:spMkLst>
            <pc:docMk/>
            <pc:sldMk cId="4058232993" sldId="3024"/>
            <ac:spMk id="54" creationId="{2A3C95F4-B2FB-994B-D2C9-8E8396D8859C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56" creationId="{DED73B5E-C676-8018-5598-79984A586F9C}"/>
          </ac:spMkLst>
        </pc:spChg>
        <pc:spChg chg="del">
          <ac:chgData name="Otavio Augusto Sabia Gava" userId="68ac195b-011b-467c-86d4-321df89323d0" providerId="ADAL" clId="{0C687AD9-2800-41E2-AA69-D02ABC7EDD76}" dt="2023-11-21T00:00:04.812" v="8801" actId="478"/>
          <ac:spMkLst>
            <pc:docMk/>
            <pc:sldMk cId="4058232993" sldId="3024"/>
            <ac:spMk id="62" creationId="{B5DBFF4C-CF5D-AD2E-E28C-5FB1164013F1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71" creationId="{A30BA649-5DE2-AB07-47BF-F1762EF01285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72" creationId="{85FB32BE-47D9-6405-0D74-03D55CA06AB9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73" creationId="{1D123DBE-F1F1-751F-7612-F57D9939BC9A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76" creationId="{B6E54CF5-35DE-5B88-A2EF-FAC24DD2E92A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80" creationId="{4C52A35D-E441-4FED-14D9-593B7D55A228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84" creationId="{8BE67228-6999-C613-2639-AFF92BD53147}"/>
          </ac:spMkLst>
        </pc:spChg>
        <pc:spChg chg="add mod">
          <ac:chgData name="Otavio Augusto Sabia Gava" userId="68ac195b-011b-467c-86d4-321df89323d0" providerId="ADAL" clId="{0C687AD9-2800-41E2-AA69-D02ABC7EDD76}" dt="2023-11-21T00:00:56.060" v="8804" actId="208"/>
          <ac:spMkLst>
            <pc:docMk/>
            <pc:sldMk cId="4058232993" sldId="3024"/>
            <ac:spMk id="87" creationId="{2BE130BE-BA78-B83A-727C-CF982100B8CC}"/>
          </ac:spMkLst>
        </pc:spChg>
        <pc:spChg chg="add mod">
          <ac:chgData name="Otavio Augusto Sabia Gava" userId="68ac195b-011b-467c-86d4-321df89323d0" providerId="ADAL" clId="{0C687AD9-2800-41E2-AA69-D02ABC7EDD76}" dt="2023-11-27T18:20:34.124" v="19135" actId="313"/>
          <ac:spMkLst>
            <pc:docMk/>
            <pc:sldMk cId="4058232993" sldId="3024"/>
            <ac:spMk id="88" creationId="{84CBCD17-D11E-519D-3EAB-E0633F7B54C5}"/>
          </ac:spMkLst>
        </pc:spChg>
        <pc:spChg chg="add mod">
          <ac:chgData name="Otavio Augusto Sabia Gava" userId="68ac195b-011b-467c-86d4-321df89323d0" providerId="ADAL" clId="{0C687AD9-2800-41E2-AA69-D02ABC7EDD76}" dt="2023-11-21T00:03:20.750" v="8824" actId="207"/>
          <ac:spMkLst>
            <pc:docMk/>
            <pc:sldMk cId="4058232993" sldId="3024"/>
            <ac:spMk id="89" creationId="{61256B3E-D80C-A8BC-0A29-AF815BF1CF0D}"/>
          </ac:spMkLst>
        </pc:spChg>
        <pc:spChg chg="add mod">
          <ac:chgData name="Otavio Augusto Sabia Gava" userId="68ac195b-011b-467c-86d4-321df89323d0" providerId="ADAL" clId="{0C687AD9-2800-41E2-AA69-D02ABC7EDD76}" dt="2023-11-21T00:00:33.071" v="8803"/>
          <ac:spMkLst>
            <pc:docMk/>
            <pc:sldMk cId="4058232993" sldId="3024"/>
            <ac:spMk id="92" creationId="{AC9EB8EF-B889-FFEC-0AA8-9264D8CC8FF9}"/>
          </ac:spMkLst>
        </pc:spChg>
        <pc:grpChg chg="del">
          <ac:chgData name="Otavio Augusto Sabia Gava" userId="68ac195b-011b-467c-86d4-321df89323d0" providerId="ADAL" clId="{0C687AD9-2800-41E2-AA69-D02ABC7EDD76}" dt="2023-11-21T00:00:06.242" v="8802" actId="478"/>
          <ac:grpSpMkLst>
            <pc:docMk/>
            <pc:sldMk cId="4058232993" sldId="3024"/>
            <ac:grpSpMk id="2" creationId="{B7667BB9-8488-2757-81F7-457BB99ADDA0}"/>
          </ac:grpSpMkLst>
        </pc:grpChg>
        <pc:grpChg chg="del">
          <ac:chgData name="Otavio Augusto Sabia Gava" userId="68ac195b-011b-467c-86d4-321df89323d0" providerId="ADAL" clId="{0C687AD9-2800-41E2-AA69-D02ABC7EDD76}" dt="2023-11-21T00:00:04.812" v="8801" actId="478"/>
          <ac:grpSpMkLst>
            <pc:docMk/>
            <pc:sldMk cId="4058232993" sldId="3024"/>
            <ac:grpSpMk id="13" creationId="{857E4F56-0A95-0669-CAE5-E875392B435D}"/>
          </ac:grpSpMkLst>
        </pc:grpChg>
        <pc:grpChg chg="add mod">
          <ac:chgData name="Otavio Augusto Sabia Gava" userId="68ac195b-011b-467c-86d4-321df89323d0" providerId="ADAL" clId="{0C687AD9-2800-41E2-AA69-D02ABC7EDD76}" dt="2023-11-21T00:03:05.842" v="8821" actId="1076"/>
          <ac:grpSpMkLst>
            <pc:docMk/>
            <pc:sldMk cId="4058232993" sldId="3024"/>
            <ac:grpSpMk id="29" creationId="{8692FB41-ADD3-694E-ECE5-01E4A82DD6BA}"/>
          </ac:grpSpMkLst>
        </pc:grpChg>
        <pc:grpChg chg="del">
          <ac:chgData name="Otavio Augusto Sabia Gava" userId="68ac195b-011b-467c-86d4-321df89323d0" providerId="ADAL" clId="{0C687AD9-2800-41E2-AA69-D02ABC7EDD76}" dt="2023-11-21T00:00:04.812" v="8801" actId="478"/>
          <ac:grpSpMkLst>
            <pc:docMk/>
            <pc:sldMk cId="4058232993" sldId="3024"/>
            <ac:grpSpMk id="65" creationId="{515A8D72-D489-596A-BF23-EEE08316C7C5}"/>
          </ac:grpSpMkLst>
        </pc:grpChg>
        <pc:graphicFrameChg chg="add del mod">
          <ac:chgData name="Otavio Augusto Sabia Gava" userId="68ac195b-011b-467c-86d4-321df89323d0" providerId="ADAL" clId="{0C687AD9-2800-41E2-AA69-D02ABC7EDD76}" dt="2023-11-30T14:28:55.979" v="29184" actId="1076"/>
          <ac:graphicFrameMkLst>
            <pc:docMk/>
            <pc:sldMk cId="4058232993" sldId="3024"/>
            <ac:graphicFrameMk id="91" creationId="{B528F44C-97FF-488A-266B-89BD2E491D0A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1T00:01:09.045" v="8806" actId="207"/>
          <ac:picMkLst>
            <pc:docMk/>
            <pc:sldMk cId="4058232993" sldId="3024"/>
            <ac:picMk id="3" creationId="{E92012C5-9BDF-8BF6-B3A6-91877D5DA0E7}"/>
          </ac:picMkLst>
        </pc:picChg>
        <pc:picChg chg="add 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8" creationId="{62471C0E-A883-E4E0-3045-A0A1B9EB5CD3}"/>
          </ac:picMkLst>
        </pc:picChg>
        <pc:picChg chg="add mod">
          <ac:chgData name="Otavio Augusto Sabia Gava" userId="68ac195b-011b-467c-86d4-321df89323d0" providerId="ADAL" clId="{0C687AD9-2800-41E2-AA69-D02ABC7EDD76}" dt="2023-11-21T00:01:09.045" v="8806" actId="207"/>
          <ac:picMkLst>
            <pc:docMk/>
            <pc:sldMk cId="4058232993" sldId="3024"/>
            <ac:picMk id="11" creationId="{163C8129-4810-9C54-91CA-CED6FA6F0A12}"/>
          </ac:picMkLst>
        </pc:picChg>
        <pc:picChg chg="add mod">
          <ac:chgData name="Otavio Augusto Sabia Gava" userId="68ac195b-011b-467c-86d4-321df89323d0" providerId="ADAL" clId="{0C687AD9-2800-41E2-AA69-D02ABC7EDD76}" dt="2023-11-21T00:01:09.045" v="8806" actId="207"/>
          <ac:picMkLst>
            <pc:docMk/>
            <pc:sldMk cId="4058232993" sldId="3024"/>
            <ac:picMk id="15" creationId="{65314FB2-1CFE-0BA8-02CA-A1BCFC0113D1}"/>
          </ac:picMkLst>
        </pc:picChg>
        <pc:picChg chg="add mod">
          <ac:chgData name="Otavio Augusto Sabia Gava" userId="68ac195b-011b-467c-86d4-321df89323d0" providerId="ADAL" clId="{0C687AD9-2800-41E2-AA69-D02ABC7EDD76}" dt="2023-11-21T00:01:21.267" v="8808" actId="207"/>
          <ac:picMkLst>
            <pc:docMk/>
            <pc:sldMk cId="4058232993" sldId="3024"/>
            <ac:picMk id="17" creationId="{DD08C0B0-C668-CB5D-0BF6-3A976E84E869}"/>
          </ac:picMkLst>
        </pc:picChg>
        <pc:picChg chg="add 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19" creationId="{E98E871B-F9BE-FBC3-B181-B42A7E4E5336}"/>
          </ac:picMkLst>
        </pc:picChg>
        <pc:picChg chg="add mod">
          <ac:chgData name="Otavio Augusto Sabia Gava" userId="68ac195b-011b-467c-86d4-321df89323d0" providerId="ADAL" clId="{0C687AD9-2800-41E2-AA69-D02ABC7EDD76}" dt="2023-11-21T00:01:21.267" v="8808" actId="207"/>
          <ac:picMkLst>
            <pc:docMk/>
            <pc:sldMk cId="4058232993" sldId="3024"/>
            <ac:picMk id="20" creationId="{7BBDCCAD-0A56-4DDB-BF68-CA34027D9989}"/>
          </ac:picMkLst>
        </pc:picChg>
        <pc:picChg chg="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31" creationId="{2FD177E7-D3C6-B08A-E6F9-D5E5C68A8EA5}"/>
          </ac:picMkLst>
        </pc:picChg>
        <pc:picChg chg="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32" creationId="{AF3BD3DD-7B67-8382-049E-A3E7C72D7A97}"/>
          </ac:picMkLst>
        </pc:picChg>
        <pc:picChg chg="add 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34" creationId="{9E42FC89-783F-0970-8255-4DC3BF582F7B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36" creationId="{D6619126-445B-E463-028C-E219D0A9F509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41" creationId="{89C925BA-7BBC-50BB-52D4-756F4DE44A21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42" creationId="{54EACB8F-0CF8-1597-5D75-D1B849EF695A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49" creationId="{E2D18E05-3269-276D-83F1-DE9BFAEEDE16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57" creationId="{59709516-FC97-331C-74C0-D2D069868834}"/>
          </ac:picMkLst>
        </pc:picChg>
        <pc:picChg chg="del">
          <ac:chgData name="Otavio Augusto Sabia Gava" userId="68ac195b-011b-467c-86d4-321df89323d0" providerId="ADAL" clId="{0C687AD9-2800-41E2-AA69-D02ABC7EDD76}" dt="2023-11-21T00:00:06.242" v="8802" actId="478"/>
          <ac:picMkLst>
            <pc:docMk/>
            <pc:sldMk cId="4058232993" sldId="3024"/>
            <ac:picMk id="59" creationId="{FB8399F3-BE3A-0539-094B-F2B1CC88A369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64" creationId="{53E91D38-3044-2066-015B-CA9D93A33B75}"/>
          </ac:picMkLst>
        </pc:picChg>
        <pc:picChg chg="del">
          <ac:chgData name="Otavio Augusto Sabia Gava" userId="68ac195b-011b-467c-86d4-321df89323d0" providerId="ADAL" clId="{0C687AD9-2800-41E2-AA69-D02ABC7EDD76}" dt="2023-11-21T00:00:04.812" v="8801" actId="478"/>
          <ac:picMkLst>
            <pc:docMk/>
            <pc:sldMk cId="4058232993" sldId="3024"/>
            <ac:picMk id="70" creationId="{98446ECB-E0FA-FE1F-1970-496292776FDB}"/>
          </ac:picMkLst>
        </pc:picChg>
        <pc:picChg chg="add mod">
          <ac:chgData name="Otavio Augusto Sabia Gava" userId="68ac195b-011b-467c-86d4-321df89323d0" providerId="ADAL" clId="{0C687AD9-2800-41E2-AA69-D02ABC7EDD76}" dt="2023-11-21T00:01:21.267" v="8808" actId="207"/>
          <ac:picMkLst>
            <pc:docMk/>
            <pc:sldMk cId="4058232993" sldId="3024"/>
            <ac:picMk id="74" creationId="{EF0C7463-C8DC-EBEB-0F86-736187C81F47}"/>
          </ac:picMkLst>
        </pc:picChg>
        <pc:picChg chg="add mod">
          <ac:chgData name="Otavio Augusto Sabia Gava" userId="68ac195b-011b-467c-86d4-321df89323d0" providerId="ADAL" clId="{0C687AD9-2800-41E2-AA69-D02ABC7EDD76}" dt="2023-11-21T00:01:09.045" v="8806" actId="207"/>
          <ac:picMkLst>
            <pc:docMk/>
            <pc:sldMk cId="4058232993" sldId="3024"/>
            <ac:picMk id="79" creationId="{84066A25-7A8D-75DF-A506-6BC020D38E62}"/>
          </ac:picMkLst>
        </pc:picChg>
        <pc:picChg chg="add 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81" creationId="{6F6BF495-B727-80E6-09AC-79FB09739D9D}"/>
          </ac:picMkLst>
        </pc:picChg>
        <pc:picChg chg="add mod">
          <ac:chgData name="Otavio Augusto Sabia Gava" userId="68ac195b-011b-467c-86d4-321df89323d0" providerId="ADAL" clId="{0C687AD9-2800-41E2-AA69-D02ABC7EDD76}" dt="2023-11-21T00:01:09.045" v="8806" actId="207"/>
          <ac:picMkLst>
            <pc:docMk/>
            <pc:sldMk cId="4058232993" sldId="3024"/>
            <ac:picMk id="82" creationId="{A1760642-27DB-E790-37AA-2C63697FC52E}"/>
          </ac:picMkLst>
        </pc:picChg>
        <pc:picChg chg="add mod">
          <ac:chgData name="Otavio Augusto Sabia Gava" userId="68ac195b-011b-467c-86d4-321df89323d0" providerId="ADAL" clId="{0C687AD9-2800-41E2-AA69-D02ABC7EDD76}" dt="2023-11-21T00:00:33.071" v="8803"/>
          <ac:picMkLst>
            <pc:docMk/>
            <pc:sldMk cId="4058232993" sldId="3024"/>
            <ac:picMk id="85" creationId="{8A8120F6-6A9C-451E-B1C5-2B36A76C4E82}"/>
          </ac:picMkLst>
        </pc:picChg>
        <pc:picChg chg="mod">
          <ac:chgData name="Otavio Augusto Sabia Gava" userId="68ac195b-011b-467c-86d4-321df89323d0" providerId="ADAL" clId="{0C687AD9-2800-41E2-AA69-D02ABC7EDD76}" dt="2023-11-28T19:47:03.032" v="21754"/>
          <ac:picMkLst>
            <pc:docMk/>
            <pc:sldMk cId="4058232993" sldId="3024"/>
            <ac:picMk id="90" creationId="{A307619D-7E7E-9AF2-AC93-1D1D7315D7E7}"/>
          </ac:picMkLst>
        </pc:picChg>
        <pc:picChg chg="add mod">
          <ac:chgData name="Otavio Augusto Sabia Gava" userId="68ac195b-011b-467c-86d4-321df89323d0" providerId="ADAL" clId="{0C687AD9-2800-41E2-AA69-D02ABC7EDD76}" dt="2023-11-21T00:08:27.445" v="8941"/>
          <ac:picMkLst>
            <pc:docMk/>
            <pc:sldMk cId="4058232993" sldId="3024"/>
            <ac:picMk id="97" creationId="{AEE29722-E1DA-ED46-4DC9-96D5DF8E1FA0}"/>
          </ac:picMkLst>
        </pc:pic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6" creationId="{D140823B-4EB0-B04A-3EBC-509EC28B85E5}"/>
          </ac:cxnSpMkLst>
        </pc:cxnChg>
        <pc:cxnChg chg="add mod">
          <ac:chgData name="Otavio Augusto Sabia Gava" userId="68ac195b-011b-467c-86d4-321df89323d0" providerId="ADAL" clId="{0C687AD9-2800-41E2-AA69-D02ABC7EDD76}" dt="2023-11-21T00:02:54.354" v="8817" actId="14100"/>
          <ac:cxnSpMkLst>
            <pc:docMk/>
            <pc:sldMk cId="4058232993" sldId="3024"/>
            <ac:cxnSpMk id="12" creationId="{45883159-F42D-8BB3-A042-1FB5FE461341}"/>
          </ac:cxnSpMkLst>
        </pc:cxnChg>
        <pc:cxnChg chg="add mod">
          <ac:chgData name="Otavio Augusto Sabia Gava" userId="68ac195b-011b-467c-86d4-321df89323d0" providerId="ADAL" clId="{0C687AD9-2800-41E2-AA69-D02ABC7EDD76}" dt="2023-11-21T00:02:58.787" v="8819" actId="14100"/>
          <ac:cxnSpMkLst>
            <pc:docMk/>
            <pc:sldMk cId="4058232993" sldId="3024"/>
            <ac:cxnSpMk id="16" creationId="{6C79318A-E668-55E1-2EE4-D374FC14E08C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21" creationId="{0198E026-615C-6F98-91DC-F586107E5008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26" creationId="{67DEEEE0-D83F-2BC3-2BFC-024FB63A33AF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33" creationId="{CA719CDB-1FCC-771F-37CF-9185F4E7782F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35" creationId="{8F6D7BCA-711B-E88D-B37F-F21191C3D1D3}"/>
          </ac:cxnSpMkLst>
        </pc:cxnChg>
        <pc:cxnChg chg="del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37" creationId="{6AC1C71E-DC6B-2685-81CD-C00259E4CEA3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39" creationId="{309646FC-0B5A-2C69-9971-D6BCD54300BE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43" creationId="{7DB5CAD2-FE2D-0535-354A-C36A9D37EC2A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44" creationId="{1AA6F98A-2BEA-B6BC-A49D-2CC0738543C7}"/>
          </ac:cxnSpMkLst>
        </pc:cxnChg>
        <pc:cxnChg chg="del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46" creationId="{4CBF3436-1C9C-746B-1DD9-C2B888FD9449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47" creationId="{66244ED4-A691-8F1B-F3D8-1C9BDFEBB322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48" creationId="{4ACABEF3-2AF1-8708-A9D1-C50CF240C415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50" creationId="{FC4C0829-0F26-47FF-8C0A-B0D2747C817C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52" creationId="{3A5A12C4-C37A-4E2E-59AA-A2AA9D4C4481}"/>
          </ac:cxnSpMkLst>
        </pc:cxnChg>
        <pc:cxnChg chg="del mod">
          <ac:chgData name="Otavio Augusto Sabia Gava" userId="68ac195b-011b-467c-86d4-321df89323d0" providerId="ADAL" clId="{0C687AD9-2800-41E2-AA69-D02ABC7EDD76}" dt="2023-11-21T00:00:06.242" v="8802" actId="478"/>
          <ac:cxnSpMkLst>
            <pc:docMk/>
            <pc:sldMk cId="4058232993" sldId="3024"/>
            <ac:cxnSpMk id="53" creationId="{656A0930-3AAA-A0F7-438F-4F51E72DF7B4}"/>
          </ac:cxnSpMkLst>
        </pc:cxnChg>
        <pc:cxnChg chg="del mod">
          <ac:chgData name="Otavio Augusto Sabia Gava" userId="68ac195b-011b-467c-86d4-321df89323d0" providerId="ADAL" clId="{0C687AD9-2800-41E2-AA69-D02ABC7EDD76}" dt="2023-11-21T00:00:06.242" v="8802" actId="478"/>
          <ac:cxnSpMkLst>
            <pc:docMk/>
            <pc:sldMk cId="4058232993" sldId="3024"/>
            <ac:cxnSpMk id="55" creationId="{22BC17CD-0D60-07DD-9E88-0DE481CC5A0B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58" creationId="{1B115969-F521-BD4C-6436-5D2E8902399A}"/>
          </ac:cxnSpMkLst>
        </pc:cxnChg>
        <pc:cxnChg chg="del mod">
          <ac:chgData name="Otavio Augusto Sabia Gava" userId="68ac195b-011b-467c-86d4-321df89323d0" providerId="ADAL" clId="{0C687AD9-2800-41E2-AA69-D02ABC7EDD76}" dt="2023-11-21T00:00:06.242" v="8802" actId="478"/>
          <ac:cxnSpMkLst>
            <pc:docMk/>
            <pc:sldMk cId="4058232993" sldId="3024"/>
            <ac:cxnSpMk id="60" creationId="{E9C9A890-31C9-D7C3-1725-9F7E0BEA8990}"/>
          </ac:cxnSpMkLst>
        </pc:cxnChg>
        <pc:cxnChg chg="del mod">
          <ac:chgData name="Otavio Augusto Sabia Gava" userId="68ac195b-011b-467c-86d4-321df89323d0" providerId="ADAL" clId="{0C687AD9-2800-41E2-AA69-D02ABC7EDD76}" dt="2023-11-21T00:00:06.242" v="8802" actId="478"/>
          <ac:cxnSpMkLst>
            <pc:docMk/>
            <pc:sldMk cId="4058232993" sldId="3024"/>
            <ac:cxnSpMk id="61" creationId="{B3C693B2-79B8-09B4-DBDC-A8F0003A5EE9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63" creationId="{482A9C29-C737-C264-9A4C-707E6D02B5E8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68" creationId="{448AE258-75A4-A497-EF62-EB2E4D2755E5}"/>
          </ac:cxnSpMkLst>
        </pc:cxnChg>
        <pc:cxnChg chg="del mod">
          <ac:chgData name="Otavio Augusto Sabia Gava" userId="68ac195b-011b-467c-86d4-321df89323d0" providerId="ADAL" clId="{0C687AD9-2800-41E2-AA69-D02ABC7EDD76}" dt="2023-11-21T00:00:04.812" v="8801" actId="478"/>
          <ac:cxnSpMkLst>
            <pc:docMk/>
            <pc:sldMk cId="4058232993" sldId="3024"/>
            <ac:cxnSpMk id="69" creationId="{D468B46E-E699-A323-B2C2-98DDFD1A2195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75" creationId="{928A8FB1-EB11-8013-B6F6-50D40CFDBDF3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77" creationId="{5465B020-6DAF-56C0-5D5F-06D2C309CA78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78" creationId="{B7686ED1-5980-A06F-8ADD-552528DC40CA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83" creationId="{BB9C2161-14BE-A29F-C85F-6141119BEC02}"/>
          </ac:cxnSpMkLst>
        </pc:cxnChg>
        <pc:cxnChg chg="add mod">
          <ac:chgData name="Otavio Augusto Sabia Gava" userId="68ac195b-011b-467c-86d4-321df89323d0" providerId="ADAL" clId="{0C687AD9-2800-41E2-AA69-D02ABC7EDD76}" dt="2023-11-21T00:00:33.071" v="8803"/>
          <ac:cxnSpMkLst>
            <pc:docMk/>
            <pc:sldMk cId="4058232993" sldId="3024"/>
            <ac:cxnSpMk id="86" creationId="{F5A2007E-8C7C-4626-715B-FDFD60F1F69C}"/>
          </ac:cxnSpMkLst>
        </pc:cxn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2844950218" sldId="3025"/>
        </pc:sldMkLst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2" creationId="{7A320338-B160-E465-707F-048CAFAC9578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4" creationId="{CCB8091A-4BF0-C6D0-A724-E066F8F80495}"/>
          </ac:spMkLst>
        </pc:spChg>
        <pc:spChg chg="mod">
          <ac:chgData name="Otavio Augusto Sabia Gava" userId="68ac195b-011b-467c-86d4-321df89323d0" providerId="ADAL" clId="{0C687AD9-2800-41E2-AA69-D02ABC7EDD76}" dt="2023-11-21T00:07:58.754" v="8938" actId="20577"/>
          <ac:spMkLst>
            <pc:docMk/>
            <pc:sldMk cId="2844950218" sldId="3025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1T00:05:46.218" v="8878" actId="207"/>
          <ac:spMkLst>
            <pc:docMk/>
            <pc:sldMk cId="2844950218" sldId="3025"/>
            <ac:spMk id="7" creationId="{D188BD2F-9470-24F3-B44D-0B7E111A2863}"/>
          </ac:spMkLst>
        </pc:spChg>
        <pc:spChg chg="add mod">
          <ac:chgData name="Otavio Augusto Sabia Gava" userId="68ac195b-011b-467c-86d4-321df89323d0" providerId="ADAL" clId="{0C687AD9-2800-41E2-AA69-D02ABC7EDD76}" dt="2023-11-21T00:06:42.631" v="8892" actId="1076"/>
          <ac:spMkLst>
            <pc:docMk/>
            <pc:sldMk cId="2844950218" sldId="3025"/>
            <ac:spMk id="9" creationId="{912F8689-075B-E7B2-8F5A-4C7C5AD41B67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10" creationId="{61135FDF-950F-27BA-0D93-E63108362264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14" creationId="{26A9E4C8-F6C1-D703-2FF8-B931543E9F92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18" creationId="{A50F23F2-ABA4-D906-22D3-E441A8D3DB2F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22" creationId="{D4D6CFB9-1C82-A196-358A-C3412F7BC08C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24" creationId="{8922A733-8B36-4AD5-0231-651F8E965A94}"/>
          </ac:spMkLst>
        </pc:spChg>
        <pc:spChg chg="add mod">
          <ac:chgData name="Otavio Augusto Sabia Gava" userId="68ac195b-011b-467c-86d4-321df89323d0" providerId="ADAL" clId="{0C687AD9-2800-41E2-AA69-D02ABC7EDD76}" dt="2023-11-21T00:05:10.749" v="8861" actId="207"/>
          <ac:spMkLst>
            <pc:docMk/>
            <pc:sldMk cId="2844950218" sldId="3025"/>
            <ac:spMk id="25" creationId="{1FB97CCB-7E00-C097-8B20-B62452DC3BC2}"/>
          </ac:spMkLst>
        </pc:spChg>
        <pc:spChg chg="add mod">
          <ac:chgData name="Otavio Augusto Sabia Gava" userId="68ac195b-011b-467c-86d4-321df89323d0" providerId="ADAL" clId="{0C687AD9-2800-41E2-AA69-D02ABC7EDD76}" dt="2023-11-21T00:05:16.643" v="8864" actId="403"/>
          <ac:spMkLst>
            <pc:docMk/>
            <pc:sldMk cId="2844950218" sldId="3025"/>
            <ac:spMk id="26" creationId="{34AD7DB5-5BDA-FD88-F81A-50C630C60D3C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27" creationId="{C10D0C55-8D8F-ABCD-CD81-3D7CC51D0CE3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28" creationId="{A00B7DD7-833B-2FD8-9E2B-E6BDF45B38C9}"/>
          </ac:spMkLst>
        </pc:spChg>
        <pc:spChg chg="add mod">
          <ac:chgData name="Otavio Augusto Sabia Gava" userId="68ac195b-011b-467c-86d4-321df89323d0" providerId="ADAL" clId="{0C687AD9-2800-41E2-AA69-D02ABC7EDD76}" dt="2023-11-21T00:05:22.010" v="8867" actId="207"/>
          <ac:spMkLst>
            <pc:docMk/>
            <pc:sldMk cId="2844950218" sldId="3025"/>
            <ac:spMk id="36" creationId="{AB60F387-BDE5-EFF8-0ED9-8586993974D7}"/>
          </ac:spMkLst>
        </pc:spChg>
        <pc:spChg chg="add mod">
          <ac:chgData name="Otavio Augusto Sabia Gava" userId="68ac195b-011b-467c-86d4-321df89323d0" providerId="ADAL" clId="{0C687AD9-2800-41E2-AA69-D02ABC7EDD76}" dt="2023-11-21T00:05:28.363" v="8870" actId="207"/>
          <ac:spMkLst>
            <pc:docMk/>
            <pc:sldMk cId="2844950218" sldId="3025"/>
            <ac:spMk id="37" creationId="{0004346A-C58B-2CB2-02C3-BAE5253A8C66}"/>
          </ac:spMkLst>
        </pc:spChg>
        <pc:spChg chg="add mod">
          <ac:chgData name="Otavio Augusto Sabia Gava" userId="68ac195b-011b-467c-86d4-321df89323d0" providerId="ADAL" clId="{0C687AD9-2800-41E2-AA69-D02ABC7EDD76}" dt="2023-11-21T00:05:32.849" v="8872" actId="207"/>
          <ac:spMkLst>
            <pc:docMk/>
            <pc:sldMk cId="2844950218" sldId="3025"/>
            <ac:spMk id="38" creationId="{48CB43CD-3119-2394-A68F-010D2E931548}"/>
          </ac:spMkLst>
        </pc:spChg>
        <pc:spChg chg="add mod">
          <ac:chgData name="Otavio Augusto Sabia Gava" userId="68ac195b-011b-467c-86d4-321df89323d0" providerId="ADAL" clId="{0C687AD9-2800-41E2-AA69-D02ABC7EDD76}" dt="2023-11-21T00:05:38.712" v="8875" actId="403"/>
          <ac:spMkLst>
            <pc:docMk/>
            <pc:sldMk cId="2844950218" sldId="3025"/>
            <ac:spMk id="39" creationId="{6A5AF080-AFA9-5A93-9E87-0EE6E4B3AF81}"/>
          </ac:spMkLst>
        </pc:spChg>
        <pc:spChg chg="add mod">
          <ac:chgData name="Otavio Augusto Sabia Gava" userId="68ac195b-011b-467c-86d4-321df89323d0" providerId="ADAL" clId="{0C687AD9-2800-41E2-AA69-D02ABC7EDD76}" dt="2023-11-21T00:06:54.651" v="8897" actId="1076"/>
          <ac:spMkLst>
            <pc:docMk/>
            <pc:sldMk cId="2844950218" sldId="3025"/>
            <ac:spMk id="40" creationId="{A053644D-A6FD-48A1-56CA-D9371196AA4C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43" creationId="{41428278-39E6-2642-F367-83F91261C58B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46" creationId="{6F4AF5F2-39AC-B3FB-AD97-3FBD4B5BBC26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47" creationId="{3B191447-B1C3-E52D-FCB6-C6CE4B4869B4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48" creationId="{21685AAF-5EFA-43D5-12BF-59688E66A32C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49" creationId="{426FCAE1-AC4D-FE59-A9EC-4E5D0E5D518B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0" creationId="{1BBD576A-2183-A8DE-1C77-78C27A0BFB70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1" creationId="{4F209B36-1597-96D1-7284-A5530F713625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2" creationId="{E47F1DF3-E68B-705F-3404-888ACC42FCB0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3" creationId="{C0BFBB70-6EF4-7298-46F0-FDEA62E4359E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4" creationId="{3A0C1E61-CDF4-F4CF-9449-0138392AD7DB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5" creationId="{6A16FDFB-551D-0ACD-C045-CF7E93E62463}"/>
          </ac:spMkLst>
        </pc:spChg>
        <pc:spChg chg="add mod">
          <ac:chgData name="Otavio Augusto Sabia Gava" userId="68ac195b-011b-467c-86d4-321df89323d0" providerId="ADAL" clId="{0C687AD9-2800-41E2-AA69-D02ABC7EDD76}" dt="2023-11-21T00:04:41.065" v="8856"/>
          <ac:spMkLst>
            <pc:docMk/>
            <pc:sldMk cId="2844950218" sldId="3025"/>
            <ac:spMk id="56" creationId="{244BB3FC-2576-BF08-2A80-13BB061111F1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59" creationId="{49F74676-D35C-8316-D5C9-272A6A5361E7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63" creationId="{EDE0852E-DF75-971D-E035-DF120D571007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65" creationId="{89E11069-9441-247B-8B78-EF3B987CC892}"/>
          </ac:spMkLst>
        </pc:spChg>
        <pc:spChg chg="mod">
          <ac:chgData name="Otavio Augusto Sabia Gava" userId="68ac195b-011b-467c-86d4-321df89323d0" providerId="ADAL" clId="{0C687AD9-2800-41E2-AA69-D02ABC7EDD76}" dt="2023-11-21T01:52:14.304" v="9881" actId="207"/>
          <ac:spMkLst>
            <pc:docMk/>
            <pc:sldMk cId="2844950218" sldId="3025"/>
            <ac:spMk id="68" creationId="{CFE10C9A-2250-7353-B57B-C8037BE069CB}"/>
          </ac:spMkLst>
        </pc:spChg>
        <pc:spChg chg="add mod">
          <ac:chgData name="Otavio Augusto Sabia Gava" userId="68ac195b-011b-467c-86d4-321df89323d0" providerId="ADAL" clId="{0C687AD9-2800-41E2-AA69-D02ABC7EDD76}" dt="2023-11-21T01:46:38.054" v="9849" actId="113"/>
          <ac:spMkLst>
            <pc:docMk/>
            <pc:sldMk cId="2844950218" sldId="3025"/>
            <ac:spMk id="70" creationId="{53600774-7366-515C-1750-373CFD608416}"/>
          </ac:spMkLst>
        </pc:spChg>
        <pc:spChg chg="del">
          <ac:chgData name="Otavio Augusto Sabia Gava" userId="68ac195b-011b-467c-86d4-321df89323d0" providerId="ADAL" clId="{0C687AD9-2800-41E2-AA69-D02ABC7EDD76}" dt="2023-11-21T00:04:33.645" v="8855" actId="478"/>
          <ac:spMkLst>
            <pc:docMk/>
            <pc:sldMk cId="2844950218" sldId="3025"/>
            <ac:spMk id="71" creationId="{A30BA649-5DE2-AB07-47BF-F1762EF01285}"/>
          </ac:spMkLst>
        </pc:spChg>
        <pc:spChg chg="del">
          <ac:chgData name="Otavio Augusto Sabia Gava" userId="68ac195b-011b-467c-86d4-321df89323d0" providerId="ADAL" clId="{0C687AD9-2800-41E2-AA69-D02ABC7EDD76}" dt="2023-11-21T00:04:33.645" v="8855" actId="478"/>
          <ac:spMkLst>
            <pc:docMk/>
            <pc:sldMk cId="2844950218" sldId="3025"/>
            <ac:spMk id="72" creationId="{85FB32BE-47D9-6405-0D74-03D55CA06AB9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73" creationId="{1D123DBE-F1F1-751F-7612-F57D9939BC9A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76" creationId="{B6E54CF5-35DE-5B88-A2EF-FAC24DD2E92A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80" creationId="{4C52A35D-E441-4FED-14D9-593B7D55A228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84" creationId="{8BE67228-6999-C613-2639-AFF92BD53147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87" creationId="{2BE130BE-BA78-B83A-727C-CF982100B8CC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88" creationId="{84CBCD17-D11E-519D-3EAB-E0633F7B54C5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89" creationId="{61256B3E-D80C-A8BC-0A29-AF815BF1CF0D}"/>
          </ac:spMkLst>
        </pc:spChg>
        <pc:spChg chg="del">
          <ac:chgData name="Otavio Augusto Sabia Gava" userId="68ac195b-011b-467c-86d4-321df89323d0" providerId="ADAL" clId="{0C687AD9-2800-41E2-AA69-D02ABC7EDD76}" dt="2023-11-21T00:04:32.149" v="8854" actId="478"/>
          <ac:spMkLst>
            <pc:docMk/>
            <pc:sldMk cId="2844950218" sldId="3025"/>
            <ac:spMk id="92" creationId="{AC9EB8EF-B889-FFEC-0AA8-9264D8CC8FF9}"/>
          </ac:spMkLst>
        </pc:s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13" creationId="{FED6C4B4-1232-E8DD-9139-1AD6732FF749}"/>
          </ac:grpSpMkLst>
        </pc:grpChg>
        <pc:grpChg chg="del">
          <ac:chgData name="Otavio Augusto Sabia Gava" userId="68ac195b-011b-467c-86d4-321df89323d0" providerId="ADAL" clId="{0C687AD9-2800-41E2-AA69-D02ABC7EDD76}" dt="2023-11-21T00:04:33.645" v="8855" actId="478"/>
          <ac:grpSpMkLst>
            <pc:docMk/>
            <pc:sldMk cId="2844950218" sldId="3025"/>
            <ac:grpSpMk id="29" creationId="{8692FB41-ADD3-694E-ECE5-01E4A82DD6BA}"/>
          </ac:grpSpMkLst>
        </pc:gr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41" creationId="{48050A00-5661-D7A3-331D-6E103832D555}"/>
          </ac:grpSpMkLst>
        </pc:gr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58" creationId="{86226741-F565-E213-A219-05A1CC548073}"/>
          </ac:grpSpMkLst>
        </pc:gr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61" creationId="{C3E2DF1D-0E78-6839-3A2B-72FA08FF1DEB}"/>
          </ac:grpSpMkLst>
        </pc:gr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64" creationId="{B5A5D4EC-1650-7AFE-C855-A7691A40E04E}"/>
          </ac:grpSpMkLst>
        </pc:grpChg>
        <pc:grpChg chg="add mod">
          <ac:chgData name="Otavio Augusto Sabia Gava" userId="68ac195b-011b-467c-86d4-321df89323d0" providerId="ADAL" clId="{0C687AD9-2800-41E2-AA69-D02ABC7EDD76}" dt="2023-11-21T01:52:14.304" v="9881" actId="207"/>
          <ac:grpSpMkLst>
            <pc:docMk/>
            <pc:sldMk cId="2844950218" sldId="3025"/>
            <ac:grpSpMk id="67" creationId="{18E65D7D-DB1E-829A-CF6D-650E615AFE35}"/>
          </ac:grpSpMkLst>
        </pc:grpChg>
        <pc:graphicFrameChg chg="del">
          <ac:chgData name="Otavio Augusto Sabia Gava" userId="68ac195b-011b-467c-86d4-321df89323d0" providerId="ADAL" clId="{0C687AD9-2800-41E2-AA69-D02ABC7EDD76}" dt="2023-11-21T00:04:32.149" v="8854" actId="478"/>
          <ac:graphicFrameMkLst>
            <pc:docMk/>
            <pc:sldMk cId="2844950218" sldId="3025"/>
            <ac:graphicFrameMk id="91" creationId="{B528F44C-97FF-488A-266B-89BD2E491D0A}"/>
          </ac:graphicFrameMkLst>
        </pc:graphicFrame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3" creationId="{E92012C5-9BDF-8BF6-B3A6-91877D5DA0E7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8" creationId="{62471C0E-A883-E4E0-3045-A0A1B9EB5CD3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11" creationId="{163C8129-4810-9C54-91CA-CED6FA6F0A12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15" creationId="{65314FB2-1CFE-0BA8-02CA-A1BCFC0113D1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17" creationId="{DD08C0B0-C668-CB5D-0BF6-3A976E84E869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19" creationId="{E98E871B-F9BE-FBC3-B181-B42A7E4E5336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20" creationId="{7BBDCCAD-0A56-4DDB-BF68-CA34027D9989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23" creationId="{5600F866-B069-E937-BFEC-F70D738E4F7E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34" creationId="{9E42FC89-783F-0970-8255-4DC3BF582F7B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42" creationId="{E22F333D-E805-2076-EB1A-DBB19911B0C6}"/>
          </ac:picMkLst>
        </pc:picChg>
        <pc:picChg chg="add mod">
          <ac:chgData name="Otavio Augusto Sabia Gava" userId="68ac195b-011b-467c-86d4-321df89323d0" providerId="ADAL" clId="{0C687AD9-2800-41E2-AA69-D02ABC7EDD76}" dt="2023-11-21T00:04:41.065" v="8856"/>
          <ac:picMkLst>
            <pc:docMk/>
            <pc:sldMk cId="2844950218" sldId="3025"/>
            <ac:picMk id="57" creationId="{47A85A5B-25E5-8232-3E22-08BD31BC6FDF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60" creationId="{24909718-631A-5590-F745-7FB4FA2F596C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62" creationId="{D1051A74-D79B-413B-637C-1CE750FF0059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66" creationId="{32620943-73F3-1C69-E56E-2B0CC2698D5D}"/>
          </ac:picMkLst>
        </pc:picChg>
        <pc:picChg chg="mod">
          <ac:chgData name="Otavio Augusto Sabia Gava" userId="68ac195b-011b-467c-86d4-321df89323d0" providerId="ADAL" clId="{0C687AD9-2800-41E2-AA69-D02ABC7EDD76}" dt="2023-11-21T01:52:14.304" v="9881" actId="207"/>
          <ac:picMkLst>
            <pc:docMk/>
            <pc:sldMk cId="2844950218" sldId="3025"/>
            <ac:picMk id="69" creationId="{2B911D7E-0D93-B839-9A04-4638903990E9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74" creationId="{EF0C7463-C8DC-EBEB-0F86-736187C81F47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79" creationId="{84066A25-7A8D-75DF-A506-6BC020D38E62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81" creationId="{6F6BF495-B727-80E6-09AC-79FB09739D9D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82" creationId="{A1760642-27DB-E790-37AA-2C63697FC52E}"/>
          </ac:picMkLst>
        </pc:picChg>
        <pc:picChg chg="del">
          <ac:chgData name="Otavio Augusto Sabia Gava" userId="68ac195b-011b-467c-86d4-321df89323d0" providerId="ADAL" clId="{0C687AD9-2800-41E2-AA69-D02ABC7EDD76}" dt="2023-11-21T00:04:32.149" v="8854" actId="478"/>
          <ac:picMkLst>
            <pc:docMk/>
            <pc:sldMk cId="2844950218" sldId="3025"/>
            <ac:picMk id="85" creationId="{8A8120F6-6A9C-451E-B1C5-2B36A76C4E82}"/>
          </ac:picMkLst>
        </pc:picChg>
        <pc:picChg chg="mod">
          <ac:chgData name="Otavio Augusto Sabia Gava" userId="68ac195b-011b-467c-86d4-321df89323d0" providerId="ADAL" clId="{0C687AD9-2800-41E2-AA69-D02ABC7EDD76}" dt="2023-11-29T18:34:35.965" v="28763"/>
          <ac:picMkLst>
            <pc:docMk/>
            <pc:sldMk cId="2844950218" sldId="3025"/>
            <ac:picMk id="90" creationId="{A307619D-7E7E-9AF2-AC93-1D1D7315D7E7}"/>
          </ac:picMkLst>
        </pc:picChg>
        <pc:picChg chg="del">
          <ac:chgData name="Otavio Augusto Sabia Gava" userId="68ac195b-011b-467c-86d4-321df89323d0" providerId="ADAL" clId="{0C687AD9-2800-41E2-AA69-D02ABC7EDD76}" dt="2023-11-21T00:07:33.220" v="8904" actId="478"/>
          <ac:picMkLst>
            <pc:docMk/>
            <pc:sldMk cId="2844950218" sldId="3025"/>
            <ac:picMk id="97" creationId="{AEE29722-E1DA-ED46-4DC9-96D5DF8E1FA0}"/>
          </ac:picMkLst>
        </pc:pic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6" creationId="{D140823B-4EB0-B04A-3EBC-509EC28B85E5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12" creationId="{45883159-F42D-8BB3-A042-1FB5FE461341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16" creationId="{6C79318A-E668-55E1-2EE4-D374FC14E08C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21" creationId="{0198E026-615C-6F98-91DC-F586107E5008}"/>
          </ac:cxnSpMkLst>
        </pc:cxnChg>
        <pc:cxnChg chg="del">
          <ac:chgData name="Otavio Augusto Sabia Gava" userId="68ac195b-011b-467c-86d4-321df89323d0" providerId="ADAL" clId="{0C687AD9-2800-41E2-AA69-D02ABC7EDD76}" dt="2023-11-21T00:04:33.645" v="8855" actId="478"/>
          <ac:cxnSpMkLst>
            <pc:docMk/>
            <pc:sldMk cId="2844950218" sldId="3025"/>
            <ac:cxnSpMk id="33" creationId="{CA719CDB-1FCC-771F-37CF-9185F4E7782F}"/>
          </ac:cxnSpMkLst>
        </pc:cxnChg>
        <pc:cxnChg chg="del">
          <ac:chgData name="Otavio Augusto Sabia Gava" userId="68ac195b-011b-467c-86d4-321df89323d0" providerId="ADAL" clId="{0C687AD9-2800-41E2-AA69-D02ABC7EDD76}" dt="2023-11-21T00:04:33.645" v="8855" actId="478"/>
          <ac:cxnSpMkLst>
            <pc:docMk/>
            <pc:sldMk cId="2844950218" sldId="3025"/>
            <ac:cxnSpMk id="35" creationId="{8F6D7BCA-711B-E88D-B37F-F21191C3D1D3}"/>
          </ac:cxnSpMkLst>
        </pc:cxnChg>
        <pc:cxnChg chg="add mod">
          <ac:chgData name="Otavio Augusto Sabia Gava" userId="68ac195b-011b-467c-86d4-321df89323d0" providerId="ADAL" clId="{0C687AD9-2800-41E2-AA69-D02ABC7EDD76}" dt="2023-11-21T00:04:41.065" v="8856"/>
          <ac:cxnSpMkLst>
            <pc:docMk/>
            <pc:sldMk cId="2844950218" sldId="3025"/>
            <ac:cxnSpMk id="44" creationId="{332F8444-415B-3F01-4065-E8753C153207}"/>
          </ac:cxnSpMkLst>
        </pc:cxnChg>
        <pc:cxnChg chg="add mod">
          <ac:chgData name="Otavio Augusto Sabia Gava" userId="68ac195b-011b-467c-86d4-321df89323d0" providerId="ADAL" clId="{0C687AD9-2800-41E2-AA69-D02ABC7EDD76}" dt="2023-11-21T00:04:41.065" v="8856"/>
          <ac:cxnSpMkLst>
            <pc:docMk/>
            <pc:sldMk cId="2844950218" sldId="3025"/>
            <ac:cxnSpMk id="45" creationId="{D2A2B7D0-BB5F-F5DA-18D4-A496CB889350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75" creationId="{928A8FB1-EB11-8013-B6F6-50D40CFDBDF3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77" creationId="{5465B020-6DAF-56C0-5D5F-06D2C309CA78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78" creationId="{B7686ED1-5980-A06F-8ADD-552528DC40CA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83" creationId="{BB9C2161-14BE-A29F-C85F-6141119BEC02}"/>
          </ac:cxnSpMkLst>
        </pc:cxnChg>
        <pc:cxnChg chg="del">
          <ac:chgData name="Otavio Augusto Sabia Gava" userId="68ac195b-011b-467c-86d4-321df89323d0" providerId="ADAL" clId="{0C687AD9-2800-41E2-AA69-D02ABC7EDD76}" dt="2023-11-21T00:04:32.149" v="8854" actId="478"/>
          <ac:cxnSpMkLst>
            <pc:docMk/>
            <pc:sldMk cId="2844950218" sldId="3025"/>
            <ac:cxnSpMk id="86" creationId="{F5A2007E-8C7C-4626-715B-FDFD60F1F69C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1-29T18:36:40" v="28774" actId="47"/>
        <pc:sldMkLst>
          <pc:docMk/>
          <pc:sldMk cId="649495652" sldId="3026"/>
        </pc:sldMkLst>
        <pc:spChg chg="mod">
          <ac:chgData name="Otavio Augusto Sabia Gava" userId="68ac195b-011b-467c-86d4-321df89323d0" providerId="ADAL" clId="{0C687AD9-2800-41E2-AA69-D02ABC7EDD76}" dt="2023-11-28T18:21:07.247" v="19938" actId="13926"/>
          <ac:spMkLst>
            <pc:docMk/>
            <pc:sldMk cId="649495652" sldId="3026"/>
            <ac:spMk id="3" creationId="{09621758-40B2-5872-2D12-32D474FD9B0A}"/>
          </ac:spMkLst>
        </pc:spChg>
        <pc:spChg chg="mod">
          <ac:chgData name="Otavio Augusto Sabia Gava" userId="68ac195b-011b-467c-86d4-321df89323d0" providerId="ADAL" clId="{0C687AD9-2800-41E2-AA69-D02ABC7EDD76}" dt="2023-11-21T00:11:03.844" v="9101" actId="20577"/>
          <ac:spMkLst>
            <pc:docMk/>
            <pc:sldMk cId="649495652" sldId="3026"/>
            <ac:spMk id="15" creationId="{B4B47E49-35D4-12C1-23DE-B5160C220DED}"/>
          </ac:spMkLst>
        </pc:spChg>
        <pc:spChg chg="mod">
          <ac:chgData name="Otavio Augusto Sabia Gava" userId="68ac195b-011b-467c-86d4-321df89323d0" providerId="ADAL" clId="{0C687AD9-2800-41E2-AA69-D02ABC7EDD76}" dt="2023-11-21T00:12:52.324" v="9316" actId="113"/>
          <ac:spMkLst>
            <pc:docMk/>
            <pc:sldMk cId="649495652" sldId="3026"/>
            <ac:spMk id="16" creationId="{A47FDBE9-AFAB-72D3-3E41-FA1D706844C5}"/>
          </ac:spMkLst>
        </pc:spChg>
        <pc:spChg chg="mod">
          <ac:chgData name="Otavio Augusto Sabia Gava" userId="68ac195b-011b-467c-86d4-321df89323d0" providerId="ADAL" clId="{0C687AD9-2800-41E2-AA69-D02ABC7EDD76}" dt="2023-11-21T00:14:06.794" v="9517" actId="113"/>
          <ac:spMkLst>
            <pc:docMk/>
            <pc:sldMk cId="649495652" sldId="3026"/>
            <ac:spMk id="17" creationId="{57B3E2CE-C09F-8A08-C680-60B5016B922A}"/>
          </ac:spMkLst>
        </pc:spChg>
        <pc:spChg chg="mod">
          <ac:chgData name="Otavio Augusto Sabia Gava" userId="68ac195b-011b-467c-86d4-321df89323d0" providerId="ADAL" clId="{0C687AD9-2800-41E2-AA69-D02ABC7EDD76}" dt="2023-11-21T00:17:01.323" v="9847" actId="113"/>
          <ac:spMkLst>
            <pc:docMk/>
            <pc:sldMk cId="649495652" sldId="3026"/>
            <ac:spMk id="18" creationId="{8FEB5945-6CE0-F922-736B-C48CBFA5F48F}"/>
          </ac:spMkLst>
        </pc:spChg>
        <pc:spChg chg="mod">
          <ac:chgData name="Otavio Augusto Sabia Gava" userId="68ac195b-011b-467c-86d4-321df89323d0" providerId="ADAL" clId="{0C687AD9-2800-41E2-AA69-D02ABC7EDD76}" dt="2023-11-28T18:21:13.083" v="19939" actId="13926"/>
          <ac:spMkLst>
            <pc:docMk/>
            <pc:sldMk cId="649495652" sldId="3026"/>
            <ac:spMk id="20" creationId="{81481871-7C47-DBB1-6F27-DE5F2FBD8257}"/>
          </ac:spMkLst>
        </pc:spChg>
        <pc:spChg chg="mod">
          <ac:chgData name="Otavio Augusto Sabia Gava" userId="68ac195b-011b-467c-86d4-321df89323d0" providerId="ADAL" clId="{0C687AD9-2800-41E2-AA69-D02ABC7EDD76}" dt="2023-11-27T14:20:41.228" v="19117" actId="1036"/>
          <ac:spMkLst>
            <pc:docMk/>
            <pc:sldMk cId="649495652" sldId="3026"/>
            <ac:spMk id="30" creationId="{1A9AAA49-FD53-814B-1406-EE16A3991BF6}"/>
          </ac:spMkLst>
        </pc:spChg>
        <pc:spChg chg="mod">
          <ac:chgData name="Otavio Augusto Sabia Gava" userId="68ac195b-011b-467c-86d4-321df89323d0" providerId="ADAL" clId="{0C687AD9-2800-41E2-AA69-D02ABC7EDD76}" dt="2023-11-21T11:46:04.244" v="12737" actId="113"/>
          <ac:spMkLst>
            <pc:docMk/>
            <pc:sldMk cId="649495652" sldId="3026"/>
            <ac:spMk id="31" creationId="{80E0185E-C710-2F61-FACE-A0D6157DAC48}"/>
          </ac:spMkLst>
        </pc:spChg>
        <pc:spChg chg="mod">
          <ac:chgData name="Otavio Augusto Sabia Gava" userId="68ac195b-011b-467c-86d4-321df89323d0" providerId="ADAL" clId="{0C687AD9-2800-41E2-AA69-D02ABC7EDD76}" dt="2023-11-21T11:46:11.500" v="12742" actId="113"/>
          <ac:spMkLst>
            <pc:docMk/>
            <pc:sldMk cId="649495652" sldId="3026"/>
            <ac:spMk id="32" creationId="{9B6F4571-FE77-21CB-E0D1-8AEA0BF08454}"/>
          </ac:spMkLst>
        </pc:spChg>
        <pc:spChg chg="mod">
          <ac:chgData name="Otavio Augusto Sabia Gava" userId="68ac195b-011b-467c-86d4-321df89323d0" providerId="ADAL" clId="{0C687AD9-2800-41E2-AA69-D02ABC7EDD76}" dt="2023-11-21T11:46:31.108" v="12755" actId="113"/>
          <ac:spMkLst>
            <pc:docMk/>
            <pc:sldMk cId="649495652" sldId="3026"/>
            <ac:spMk id="33" creationId="{00A0F80A-9369-FE4F-3702-F72C03936BC2}"/>
          </ac:spMkLst>
        </pc:spChg>
        <pc:picChg chg="mod">
          <ac:chgData name="Otavio Augusto Sabia Gava" userId="68ac195b-011b-467c-86d4-321df89323d0" providerId="ADAL" clId="{0C687AD9-2800-41E2-AA69-D02ABC7EDD76}" dt="2023-11-21T02:00:25.370" v="10001"/>
          <ac:picMkLst>
            <pc:docMk/>
            <pc:sldMk cId="649495652" sldId="3026"/>
            <ac:picMk id="34" creationId="{DD65A3BA-897F-A80D-00D9-154CA83C3182}"/>
          </ac:picMkLst>
        </pc:picChg>
        <pc:picChg chg="del">
          <ac:chgData name="Otavio Augusto Sabia Gava" userId="68ac195b-011b-467c-86d4-321df89323d0" providerId="ADAL" clId="{0C687AD9-2800-41E2-AA69-D02ABC7EDD76}" dt="2023-11-21T18:33:26.924" v="16948" actId="478"/>
          <ac:picMkLst>
            <pc:docMk/>
            <pc:sldMk cId="649495652" sldId="3026"/>
            <ac:picMk id="35" creationId="{6788B9D1-A267-30B6-EB15-F06A738A0189}"/>
          </ac:picMkLst>
        </pc:picChg>
        <pc:picChg chg="del">
          <ac:chgData name="Otavio Augusto Sabia Gava" userId="68ac195b-011b-467c-86d4-321df89323d0" providerId="ADAL" clId="{0C687AD9-2800-41E2-AA69-D02ABC7EDD76}" dt="2023-11-21T02:18:42.192" v="10512" actId="478"/>
          <ac:picMkLst>
            <pc:docMk/>
            <pc:sldMk cId="649495652" sldId="3026"/>
            <ac:picMk id="37" creationId="{EA54F95C-DF2F-B24F-BF40-0EACA9CDA7DF}"/>
          </ac:picMkLst>
        </pc:picChg>
        <pc:picChg chg="add mod">
          <ac:chgData name="Otavio Augusto Sabia Gava" userId="68ac195b-011b-467c-86d4-321df89323d0" providerId="ADAL" clId="{0C687AD9-2800-41E2-AA69-D02ABC7EDD76}" dt="2023-11-21T02:19:04.635" v="10522" actId="1076"/>
          <ac:picMkLst>
            <pc:docMk/>
            <pc:sldMk cId="649495652" sldId="3026"/>
            <ac:picMk id="26626" creationId="{6EA98169-1C8F-B1C4-64C2-54AF85EAD093}"/>
          </ac:picMkLst>
        </pc:picChg>
      </pc:sldChg>
      <pc:sldChg chg="new del">
        <pc:chgData name="Otavio Augusto Sabia Gava" userId="68ac195b-011b-467c-86d4-321df89323d0" providerId="ADAL" clId="{0C687AD9-2800-41E2-AA69-D02ABC7EDD76}" dt="2023-11-21T00:07:54.011" v="8921" actId="680"/>
        <pc:sldMkLst>
          <pc:docMk/>
          <pc:sldMk cId="2865718698" sldId="3026"/>
        </pc:sldMkLst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942987416" sldId="3027"/>
        </pc:sldMkLst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2" creationId="{7A320338-B160-E465-707F-048CAFAC9578}"/>
          </ac:spMkLst>
        </pc:spChg>
        <pc:spChg chg="add mod">
          <ac:chgData name="Otavio Augusto Sabia Gava" userId="68ac195b-011b-467c-86d4-321df89323d0" providerId="ADAL" clId="{0C687AD9-2800-41E2-AA69-D02ABC7EDD76}" dt="2023-11-21T01:56:46.464" v="9945" actId="2711"/>
          <ac:spMkLst>
            <pc:docMk/>
            <pc:sldMk cId="942987416" sldId="3027"/>
            <ac:spMk id="6" creationId="{CB457897-7E14-82C7-B801-0208050CC98B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7" creationId="{D188BD2F-9470-24F3-B44D-0B7E111A2863}"/>
          </ac:spMkLst>
        </pc:spChg>
        <pc:spChg chg="add mod">
          <ac:chgData name="Otavio Augusto Sabia Gava" userId="68ac195b-011b-467c-86d4-321df89323d0" providerId="ADAL" clId="{0C687AD9-2800-41E2-AA69-D02ABC7EDD76}" dt="2023-11-21T01:56:43.282" v="9944" actId="2711"/>
          <ac:spMkLst>
            <pc:docMk/>
            <pc:sldMk cId="942987416" sldId="3027"/>
            <ac:spMk id="8" creationId="{40DE9594-ED82-644E-AB30-DFB80BD13B34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9" creationId="{912F8689-075B-E7B2-8F5A-4C7C5AD41B67}"/>
          </ac:spMkLst>
        </pc:spChg>
        <pc:spChg chg="add mod">
          <ac:chgData name="Otavio Augusto Sabia Gava" userId="68ac195b-011b-467c-86d4-321df89323d0" providerId="ADAL" clId="{0C687AD9-2800-41E2-AA69-D02ABC7EDD76}" dt="2023-11-21T01:54:55.695" v="9902" actId="1076"/>
          <ac:spMkLst>
            <pc:docMk/>
            <pc:sldMk cId="942987416" sldId="3027"/>
            <ac:spMk id="12" creationId="{94ED0912-674E-8D1D-8F77-71C0904CAE3F}"/>
          </ac:spMkLst>
        </pc:spChg>
        <pc:spChg chg="add mod">
          <ac:chgData name="Otavio Augusto Sabia Gava" userId="68ac195b-011b-467c-86d4-321df89323d0" providerId="ADAL" clId="{0C687AD9-2800-41E2-AA69-D02ABC7EDD76}" dt="2023-11-21T01:54:59.798" v="9905" actId="403"/>
          <ac:spMkLst>
            <pc:docMk/>
            <pc:sldMk cId="942987416" sldId="3027"/>
            <ac:spMk id="15" creationId="{1C1987AE-68AD-498C-C495-5B47241D76E3}"/>
          </ac:spMkLst>
        </pc:spChg>
        <pc:spChg chg="add mod">
          <ac:chgData name="Otavio Augusto Sabia Gava" userId="68ac195b-011b-467c-86d4-321df89323d0" providerId="ADAL" clId="{0C687AD9-2800-41E2-AA69-D02ABC7EDD76}" dt="2023-11-21T01:55:06.258" v="9908" actId="403"/>
          <ac:spMkLst>
            <pc:docMk/>
            <pc:sldMk cId="942987416" sldId="3027"/>
            <ac:spMk id="17" creationId="{D79ACE56-4C5B-BCDF-7341-BD905C5818D1}"/>
          </ac:spMkLst>
        </pc:spChg>
        <pc:spChg chg="add mod">
          <ac:chgData name="Otavio Augusto Sabia Gava" userId="68ac195b-011b-467c-86d4-321df89323d0" providerId="ADAL" clId="{0C687AD9-2800-41E2-AA69-D02ABC7EDD76}" dt="2023-11-21T01:49:41.682" v="9854"/>
          <ac:spMkLst>
            <pc:docMk/>
            <pc:sldMk cId="942987416" sldId="3027"/>
            <ac:spMk id="19" creationId="{4DBE6D6B-2A01-5AAD-C869-D75C20FEF65A}"/>
          </ac:spMkLst>
        </pc:spChg>
        <pc:spChg chg="add mod">
          <ac:chgData name="Otavio Augusto Sabia Gava" userId="68ac195b-011b-467c-86d4-321df89323d0" providerId="ADAL" clId="{0C687AD9-2800-41E2-AA69-D02ABC7EDD76}" dt="2023-11-21T01:57:35.999" v="9967" actId="1076"/>
          <ac:spMkLst>
            <pc:docMk/>
            <pc:sldMk cId="942987416" sldId="3027"/>
            <ac:spMk id="21" creationId="{209CDD72-E34A-D8FE-99D4-28A4E799228F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25" creationId="{1FB97CCB-7E00-C097-8B20-B62452DC3BC2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26" creationId="{34AD7DB5-5BDA-FD88-F81A-50C630C60D3C}"/>
          </ac:spMkLst>
        </pc:spChg>
        <pc:spChg chg="add mod">
          <ac:chgData name="Otavio Augusto Sabia Gava" userId="68ac195b-011b-467c-86d4-321df89323d0" providerId="ADAL" clId="{0C687AD9-2800-41E2-AA69-D02ABC7EDD76}" dt="2023-11-21T01:55:45.886" v="9924" actId="403"/>
          <ac:spMkLst>
            <pc:docMk/>
            <pc:sldMk cId="942987416" sldId="3027"/>
            <ac:spMk id="27" creationId="{5C95B1F2-0A84-689E-CAB4-24AFFACE2C65}"/>
          </ac:spMkLst>
        </pc:spChg>
        <pc:spChg chg="add mod">
          <ac:chgData name="Otavio Augusto Sabia Gava" userId="68ac195b-011b-467c-86d4-321df89323d0" providerId="ADAL" clId="{0C687AD9-2800-41E2-AA69-D02ABC7EDD76}" dt="2023-11-21T01:55:55.813" v="9928" actId="1076"/>
          <ac:spMkLst>
            <pc:docMk/>
            <pc:sldMk cId="942987416" sldId="3027"/>
            <ac:spMk id="29" creationId="{9FE76A55-CA61-795D-93C3-1AB3BBEAC837}"/>
          </ac:spMkLst>
        </pc:spChg>
        <pc:spChg chg="add mod">
          <ac:chgData name="Otavio Augusto Sabia Gava" userId="68ac195b-011b-467c-86d4-321df89323d0" providerId="ADAL" clId="{0C687AD9-2800-41E2-AA69-D02ABC7EDD76}" dt="2023-11-21T01:56:27.561" v="9937" actId="403"/>
          <ac:spMkLst>
            <pc:docMk/>
            <pc:sldMk cId="942987416" sldId="3027"/>
            <ac:spMk id="31" creationId="{05F90CE9-95BC-7731-1245-E78F00625D08}"/>
          </ac:spMkLst>
        </pc:spChg>
        <pc:spChg chg="add mod">
          <ac:chgData name="Otavio Augusto Sabia Gava" userId="68ac195b-011b-467c-86d4-321df89323d0" providerId="ADAL" clId="{0C687AD9-2800-41E2-AA69-D02ABC7EDD76}" dt="2023-11-21T01:55:20.169" v="9913" actId="1076"/>
          <ac:spMkLst>
            <pc:docMk/>
            <pc:sldMk cId="942987416" sldId="3027"/>
            <ac:spMk id="33" creationId="{558DA1B5-0AD8-A66B-17C4-1BC0032FEF82}"/>
          </ac:spMkLst>
        </pc:spChg>
        <pc:spChg chg="add mod">
          <ac:chgData name="Otavio Augusto Sabia Gava" userId="68ac195b-011b-467c-86d4-321df89323d0" providerId="ADAL" clId="{0C687AD9-2800-41E2-AA69-D02ABC7EDD76}" dt="2023-11-21T01:56:06.130" v="9932" actId="255"/>
          <ac:spMkLst>
            <pc:docMk/>
            <pc:sldMk cId="942987416" sldId="3027"/>
            <ac:spMk id="35" creationId="{B2EBA148-F290-C338-BB7B-E8D5F255A9DE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36" creationId="{AB60F387-BDE5-EFF8-0ED9-8586993974D7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37" creationId="{0004346A-C58B-2CB2-02C3-BAE5253A8C66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38" creationId="{48CB43CD-3119-2394-A68F-010D2E931548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39" creationId="{6A5AF080-AFA9-5A93-9E87-0EE6E4B3AF81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40" creationId="{A053644D-A6FD-48A1-56CA-D9371196AA4C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46" creationId="{6F4AF5F2-39AC-B3FB-AD97-3FBD4B5BBC26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47" creationId="{3B191447-B1C3-E52D-FCB6-C6CE4B4869B4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48" creationId="{21685AAF-5EFA-43D5-12BF-59688E66A32C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49" creationId="{426FCAE1-AC4D-FE59-A9EC-4E5D0E5D518B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0" creationId="{1BBD576A-2183-A8DE-1C77-78C27A0BFB70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1" creationId="{4F209B36-1597-96D1-7284-A5530F713625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2" creationId="{E47F1DF3-E68B-705F-3404-888ACC42FCB0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3" creationId="{C0BFBB70-6EF4-7298-46F0-FDEA62E4359E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4" creationId="{3A0C1E61-CDF4-F4CF-9449-0138392AD7DB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5" creationId="{6A16FDFB-551D-0ACD-C045-CF7E93E62463}"/>
          </ac:spMkLst>
        </pc:spChg>
        <pc:spChg chg="del">
          <ac:chgData name="Otavio Augusto Sabia Gava" userId="68ac195b-011b-467c-86d4-321df89323d0" providerId="ADAL" clId="{0C687AD9-2800-41E2-AA69-D02ABC7EDD76}" dt="2023-11-21T01:49:41.362" v="9853" actId="478"/>
          <ac:spMkLst>
            <pc:docMk/>
            <pc:sldMk cId="942987416" sldId="3027"/>
            <ac:spMk id="56" creationId="{244BB3FC-2576-BF08-2A80-13BB061111F1}"/>
          </ac:spMkLst>
        </pc:spChg>
        <pc:spChg chg="del mod">
          <ac:chgData name="Otavio Augusto Sabia Gava" userId="68ac195b-011b-467c-86d4-321df89323d0" providerId="ADAL" clId="{0C687AD9-2800-41E2-AA69-D02ABC7EDD76}" dt="2023-11-21T01:49:38.883" v="9852" actId="478"/>
          <ac:spMkLst>
            <pc:docMk/>
            <pc:sldMk cId="942987416" sldId="3027"/>
            <ac:spMk id="70" creationId="{53600774-7366-515C-1750-373CFD608416}"/>
          </ac:spMkLst>
        </pc:spChg>
        <pc:spChg chg="add mod">
          <ac:chgData name="Otavio Augusto Sabia Gava" userId="68ac195b-011b-467c-86d4-321df89323d0" providerId="ADAL" clId="{0C687AD9-2800-41E2-AA69-D02ABC7EDD76}" dt="2023-11-21T01:57:53.116" v="9976" actId="1076"/>
          <ac:spMkLst>
            <pc:docMk/>
            <pc:sldMk cId="942987416" sldId="3027"/>
            <ac:spMk id="83" creationId="{75144281-1BE6-AF1C-8CF4-215C0963EA27}"/>
          </ac:spMkLst>
        </pc:spChg>
        <pc:spChg chg="add mod">
          <ac:chgData name="Otavio Augusto Sabia Gava" userId="68ac195b-011b-467c-86d4-321df89323d0" providerId="ADAL" clId="{0C687AD9-2800-41E2-AA69-D02ABC7EDD76}" dt="2023-11-21T01:58:12.230" v="9981" actId="2711"/>
          <ac:spMkLst>
            <pc:docMk/>
            <pc:sldMk cId="942987416" sldId="3027"/>
            <ac:spMk id="87" creationId="{FA6D8566-A826-A14F-2E19-4F78A1631ED5}"/>
          </ac:spMkLst>
        </pc:spChg>
        <pc:spChg chg="add mod">
          <ac:chgData name="Otavio Augusto Sabia Gava" userId="68ac195b-011b-467c-86d4-321df89323d0" providerId="ADAL" clId="{0C687AD9-2800-41E2-AA69-D02ABC7EDD76}" dt="2023-11-21T01:57:57.795" v="9978" actId="403"/>
          <ac:spMkLst>
            <pc:docMk/>
            <pc:sldMk cId="942987416" sldId="3027"/>
            <ac:spMk id="91" creationId="{0C10A1E6-1E2D-7543-DE4E-C386BE6534F5}"/>
          </ac:spMkLst>
        </pc:spChg>
        <pc:spChg chg="add mod">
          <ac:chgData name="Otavio Augusto Sabia Gava" userId="68ac195b-011b-467c-86d4-321df89323d0" providerId="ADAL" clId="{0C687AD9-2800-41E2-AA69-D02ABC7EDD76}" dt="2023-11-21T01:58:05.300" v="9980" actId="403"/>
          <ac:spMkLst>
            <pc:docMk/>
            <pc:sldMk cId="942987416" sldId="3027"/>
            <ac:spMk id="92" creationId="{0770CCB8-5091-D063-1C02-6F08E59A5695}"/>
          </ac:spMkLst>
        </pc:spChg>
        <pc:spChg chg="add mod">
          <ac:chgData name="Otavio Augusto Sabia Gava" userId="68ac195b-011b-467c-86d4-321df89323d0" providerId="ADAL" clId="{0C687AD9-2800-41E2-AA69-D02ABC7EDD76}" dt="2023-11-21T01:54:42.010" v="9897" actId="14100"/>
          <ac:spMkLst>
            <pc:docMk/>
            <pc:sldMk cId="942987416" sldId="3027"/>
            <ac:spMk id="96" creationId="{36B39BEA-FB38-8454-9C8C-9AFB95119474}"/>
          </ac:spMkLst>
        </pc:spChg>
        <pc:spChg chg="add mod">
          <ac:chgData name="Otavio Augusto Sabia Gava" userId="68ac195b-011b-467c-86d4-321df89323d0" providerId="ADAL" clId="{0C687AD9-2800-41E2-AA69-D02ABC7EDD76}" dt="2023-11-21T01:49:41.682" v="9854"/>
          <ac:spMkLst>
            <pc:docMk/>
            <pc:sldMk cId="942987416" sldId="3027"/>
            <ac:spMk id="97" creationId="{C82BC0DC-B665-973E-0DC5-D970591CEE81}"/>
          </ac:spMkLst>
        </pc:spChg>
        <pc:spChg chg="add mod">
          <ac:chgData name="Otavio Augusto Sabia Gava" userId="68ac195b-011b-467c-86d4-321df89323d0" providerId="ADAL" clId="{0C687AD9-2800-41E2-AA69-D02ABC7EDD76}" dt="2023-11-21T01:57:46.582" v="9972" actId="1076"/>
          <ac:spMkLst>
            <pc:docMk/>
            <pc:sldMk cId="942987416" sldId="3027"/>
            <ac:spMk id="99" creationId="{6007D4D0-926C-FB62-D9BD-4A57BF383C68}"/>
          </ac:spMkLst>
        </pc:spChg>
        <pc:spChg chg="add mod">
          <ac:chgData name="Otavio Augusto Sabia Gava" userId="68ac195b-011b-467c-86d4-321df89323d0" providerId="ADAL" clId="{0C687AD9-2800-41E2-AA69-D02ABC7EDD76}" dt="2023-11-21T01:52:58.210" v="9889" actId="208"/>
          <ac:spMkLst>
            <pc:docMk/>
            <pc:sldMk cId="942987416" sldId="3027"/>
            <ac:spMk id="100" creationId="{E559790C-8D9D-721A-598E-FF07AC68CE12}"/>
          </ac:spMkLst>
        </pc:spChg>
        <pc:spChg chg="add del mod">
          <ac:chgData name="Otavio Augusto Sabia Gava" userId="68ac195b-011b-467c-86d4-321df89323d0" providerId="ADAL" clId="{0C687AD9-2800-41E2-AA69-D02ABC7EDD76}" dt="2023-11-21T01:52:43.717" v="9886" actId="207"/>
          <ac:spMkLst>
            <pc:docMk/>
            <pc:sldMk cId="942987416" sldId="3027"/>
            <ac:spMk id="102" creationId="{D8FB78BB-B737-5327-39A2-31BF953DD1FE}"/>
          </ac:spMkLst>
        </pc:spChg>
        <pc:spChg chg="add mod">
          <ac:chgData name="Otavio Augusto Sabia Gava" userId="68ac195b-011b-467c-86d4-321df89323d0" providerId="ADAL" clId="{0C687AD9-2800-41E2-AA69-D02ABC7EDD76}" dt="2023-11-21T01:56:50.386" v="9946" actId="2711"/>
          <ac:spMkLst>
            <pc:docMk/>
            <pc:sldMk cId="942987416" sldId="3027"/>
            <ac:spMk id="106" creationId="{A52ACEA0-2ACC-6EBF-2933-AF892ECB8CE3}"/>
          </ac:spMkLst>
        </pc:spChg>
        <pc:spChg chg="add mod">
          <ac:chgData name="Otavio Augusto Sabia Gava" userId="68ac195b-011b-467c-86d4-321df89323d0" providerId="ADAL" clId="{0C687AD9-2800-41E2-AA69-D02ABC7EDD76}" dt="2023-11-21T01:50:32.923" v="9855" actId="208"/>
          <ac:spMkLst>
            <pc:docMk/>
            <pc:sldMk cId="942987416" sldId="3027"/>
            <ac:spMk id="107" creationId="{B6C8C81E-A69E-7C1C-9B78-D3E22DA382E1}"/>
          </ac:spMkLst>
        </pc:spChg>
        <pc:spChg chg="add mod">
          <ac:chgData name="Otavio Augusto Sabia Gava" userId="68ac195b-011b-467c-86d4-321df89323d0" providerId="ADAL" clId="{0C687AD9-2800-41E2-AA69-D02ABC7EDD76}" dt="2023-11-21T01:51:02.930" v="9870" actId="1076"/>
          <ac:spMkLst>
            <pc:docMk/>
            <pc:sldMk cId="942987416" sldId="3027"/>
            <ac:spMk id="108" creationId="{36259FE0-365D-0F24-9F2B-F2D2E0B1867F}"/>
          </ac:spMkLst>
        </pc:spChg>
        <pc:spChg chg="add mod">
          <ac:chgData name="Otavio Augusto Sabia Gava" userId="68ac195b-011b-467c-86d4-321df89323d0" providerId="ADAL" clId="{0C687AD9-2800-41E2-AA69-D02ABC7EDD76}" dt="2023-11-21T01:50:32.923" v="9855" actId="208"/>
          <ac:spMkLst>
            <pc:docMk/>
            <pc:sldMk cId="942987416" sldId="3027"/>
            <ac:spMk id="109" creationId="{B6231044-5CB0-1B5D-1FAA-6D346AC90156}"/>
          </ac:spMkLst>
        </pc:spChg>
        <pc:spChg chg="add mod">
          <ac:chgData name="Otavio Augusto Sabia Gava" userId="68ac195b-011b-467c-86d4-321df89323d0" providerId="ADAL" clId="{0C687AD9-2800-41E2-AA69-D02ABC7EDD76}" dt="2023-11-21T01:50:57.357" v="9868" actId="1076"/>
          <ac:spMkLst>
            <pc:docMk/>
            <pc:sldMk cId="942987416" sldId="3027"/>
            <ac:spMk id="110" creationId="{C2EABB91-E632-E0B4-252C-8606DC677149}"/>
          </ac:spMkLst>
        </pc:spChg>
        <pc:spChg chg="add mod">
          <ac:chgData name="Otavio Augusto Sabia Gava" userId="68ac195b-011b-467c-86d4-321df89323d0" providerId="ADAL" clId="{0C687AD9-2800-41E2-AA69-D02ABC7EDD76}" dt="2023-11-21T01:54:31.134" v="9895" actId="207"/>
          <ac:spMkLst>
            <pc:docMk/>
            <pc:sldMk cId="942987416" sldId="3027"/>
            <ac:spMk id="111" creationId="{5E6087CF-973F-AFF9-0ACC-8B39D0D225EA}"/>
          </ac:spMkLst>
        </pc:spChg>
        <pc:spChg chg="add mod">
          <ac:chgData name="Otavio Augusto Sabia Gava" userId="68ac195b-011b-467c-86d4-321df89323d0" providerId="ADAL" clId="{0C687AD9-2800-41E2-AA69-D02ABC7EDD76}" dt="2023-11-21T01:49:41.682" v="9854"/>
          <ac:spMkLst>
            <pc:docMk/>
            <pc:sldMk cId="942987416" sldId="3027"/>
            <ac:spMk id="112" creationId="{62E83C16-1E41-AA59-CFBB-B32B59610885}"/>
          </ac:spMkLst>
        </pc:spChg>
        <pc:spChg chg="mod">
          <ac:chgData name="Otavio Augusto Sabia Gava" userId="68ac195b-011b-467c-86d4-321df89323d0" providerId="ADAL" clId="{0C687AD9-2800-41E2-AA69-D02ABC7EDD76}" dt="2023-11-21T01:56:39.754" v="9943" actId="113"/>
          <ac:spMkLst>
            <pc:docMk/>
            <pc:sldMk cId="942987416" sldId="3027"/>
            <ac:spMk id="116" creationId="{4E77D822-64E2-2332-9805-165B6C6E6408}"/>
          </ac:spMkLst>
        </pc:spChg>
        <pc:spChg chg="add mod">
          <ac:chgData name="Otavio Augusto Sabia Gava" userId="68ac195b-011b-467c-86d4-321df89323d0" providerId="ADAL" clId="{0C687AD9-2800-41E2-AA69-D02ABC7EDD76}" dt="2023-11-21T01:49:41.682" v="9854"/>
          <ac:spMkLst>
            <pc:docMk/>
            <pc:sldMk cId="942987416" sldId="3027"/>
            <ac:spMk id="120" creationId="{6BA8B28A-02ED-5B96-53B1-D4EA3DFAA76A}"/>
          </ac:spMkLst>
        </pc:spChg>
        <pc:spChg chg="add mod">
          <ac:chgData name="Otavio Augusto Sabia Gava" userId="68ac195b-011b-467c-86d4-321df89323d0" providerId="ADAL" clId="{0C687AD9-2800-41E2-AA69-D02ABC7EDD76}" dt="2023-11-21T01:49:41.682" v="9854"/>
          <ac:spMkLst>
            <pc:docMk/>
            <pc:sldMk cId="942987416" sldId="3027"/>
            <ac:spMk id="123" creationId="{E904056C-20B4-E846-7BFF-ABC7D3B2CB69}"/>
          </ac:spMkLst>
        </pc:spChg>
        <pc:spChg chg="mod">
          <ac:chgData name="Otavio Augusto Sabia Gava" userId="68ac195b-011b-467c-86d4-321df89323d0" providerId="ADAL" clId="{0C687AD9-2800-41E2-AA69-D02ABC7EDD76}" dt="2023-11-21T01:56:33.669" v="9940" actId="113"/>
          <ac:spMkLst>
            <pc:docMk/>
            <pc:sldMk cId="942987416" sldId="3027"/>
            <ac:spMk id="129" creationId="{234EDE7B-887B-FEAB-70C9-DEED8B69561D}"/>
          </ac:spMkLst>
        </pc:spChg>
        <pc:spChg chg="add mod">
          <ac:chgData name="Otavio Augusto Sabia Gava" userId="68ac195b-011b-467c-86d4-321df89323d0" providerId="ADAL" clId="{0C687AD9-2800-41E2-AA69-D02ABC7EDD76}" dt="2023-11-21T01:54:34.816" v="9896" actId="207"/>
          <ac:spMkLst>
            <pc:docMk/>
            <pc:sldMk cId="942987416" sldId="3027"/>
            <ac:spMk id="131" creationId="{4DCCD304-B495-198A-233A-A748079C8A32}"/>
          </ac:spMkLst>
        </pc:spChg>
        <pc:spChg chg="add mod">
          <ac:chgData name="Otavio Augusto Sabia Gava" userId="68ac195b-011b-467c-86d4-321df89323d0" providerId="ADAL" clId="{0C687AD9-2800-41E2-AA69-D02ABC7EDD76}" dt="2023-11-21T01:51:19.346" v="9879" actId="14100"/>
          <ac:spMkLst>
            <pc:docMk/>
            <pc:sldMk cId="942987416" sldId="3027"/>
            <ac:spMk id="132" creationId="{ED1D256D-4CBD-0642-0CF0-BED1350F8A20}"/>
          </ac:spMkLst>
        </pc:spChg>
        <pc:spChg chg="add mod">
          <ac:chgData name="Otavio Augusto Sabia Gava" userId="68ac195b-011b-467c-86d4-321df89323d0" providerId="ADAL" clId="{0C687AD9-2800-41E2-AA69-D02ABC7EDD76}" dt="2023-11-21T01:58:19.775" v="9984" actId="1036"/>
          <ac:spMkLst>
            <pc:docMk/>
            <pc:sldMk cId="942987416" sldId="3027"/>
            <ac:spMk id="133" creationId="{29013F15-0F2F-AFE7-13B9-388D2295EEAD}"/>
          </ac:spMkLst>
        </pc:spChg>
        <pc:spChg chg="add mod">
          <ac:chgData name="Otavio Augusto Sabia Gava" userId="68ac195b-011b-467c-86d4-321df89323d0" providerId="ADAL" clId="{0C687AD9-2800-41E2-AA69-D02ABC7EDD76}" dt="2023-11-21T01:54:22.187" v="9894" actId="207"/>
          <ac:spMkLst>
            <pc:docMk/>
            <pc:sldMk cId="942987416" sldId="3027"/>
            <ac:spMk id="134" creationId="{31EC2A66-A64F-AC86-E5A9-528EFA01746C}"/>
          </ac:spMkLst>
        </pc:spChg>
        <pc:spChg chg="add mod">
          <ac:chgData name="Otavio Augusto Sabia Gava" userId="68ac195b-011b-467c-86d4-321df89323d0" providerId="ADAL" clId="{0C687AD9-2800-41E2-AA69-D02ABC7EDD76}" dt="2023-11-21T01:57:02.715" v="9949" actId="403"/>
          <ac:spMkLst>
            <pc:docMk/>
            <pc:sldMk cId="942987416" sldId="3027"/>
            <ac:spMk id="136" creationId="{5B0C5EC8-B2F1-75EA-0817-7CB426075637}"/>
          </ac:spMkLst>
        </pc:spChg>
        <pc:spChg chg="add mod">
          <ac:chgData name="Otavio Augusto Sabia Gava" userId="68ac195b-011b-467c-86d4-321df89323d0" providerId="ADAL" clId="{0C687AD9-2800-41E2-AA69-D02ABC7EDD76}" dt="2023-11-21T01:57:08.251" v="9952" actId="403"/>
          <ac:spMkLst>
            <pc:docMk/>
            <pc:sldMk cId="942987416" sldId="3027"/>
            <ac:spMk id="141" creationId="{51F6838A-A4EE-DE82-1630-08577139F48F}"/>
          </ac:spMkLst>
        </pc:spChg>
        <pc:spChg chg="add mod">
          <ac:chgData name="Otavio Augusto Sabia Gava" userId="68ac195b-011b-467c-86d4-321df89323d0" providerId="ADAL" clId="{0C687AD9-2800-41E2-AA69-D02ABC7EDD76}" dt="2023-11-21T01:57:16.330" v="9957" actId="1076"/>
          <ac:spMkLst>
            <pc:docMk/>
            <pc:sldMk cId="942987416" sldId="3027"/>
            <ac:spMk id="144" creationId="{C3F1717A-CDAB-757D-7639-EB116E026CDD}"/>
          </ac:spMkLst>
        </pc:spChg>
        <pc:spChg chg="add mod">
          <ac:chgData name="Otavio Augusto Sabia Gava" userId="68ac195b-011b-467c-86d4-321df89323d0" providerId="ADAL" clId="{0C687AD9-2800-41E2-AA69-D02ABC7EDD76}" dt="2023-11-21T01:57:26.476" v="9962" actId="1076"/>
          <ac:spMkLst>
            <pc:docMk/>
            <pc:sldMk cId="942987416" sldId="3027"/>
            <ac:spMk id="147" creationId="{FDFDCC01-13E4-0375-3F55-A227604B07AF}"/>
          </ac:spMkLst>
        </pc:spChg>
        <pc:spChg chg="add mod">
          <ac:chgData name="Otavio Augusto Sabia Gava" userId="68ac195b-011b-467c-86d4-321df89323d0" providerId="ADAL" clId="{0C687AD9-2800-41E2-AA69-D02ABC7EDD76}" dt="2023-11-21T02:01:16.858" v="10032" actId="1076"/>
          <ac:spMkLst>
            <pc:docMk/>
            <pc:sldMk cId="942987416" sldId="3027"/>
            <ac:spMk id="156" creationId="{F344F158-9967-79C6-465D-CF245A7AE8F5}"/>
          </ac:spMkLst>
        </pc:s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13" creationId="{FED6C4B4-1232-E8DD-9139-1AD6732FF749}"/>
          </ac:grpSpMkLst>
        </pc:gr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41" creationId="{48050A00-5661-D7A3-331D-6E103832D555}"/>
          </ac:grpSpMkLst>
        </pc:gr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58" creationId="{86226741-F565-E213-A219-05A1CC548073}"/>
          </ac:grpSpMkLst>
        </pc:gr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61" creationId="{C3E2DF1D-0E78-6839-3A2B-72FA08FF1DEB}"/>
          </ac:grpSpMkLst>
        </pc:gr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64" creationId="{B5A5D4EC-1650-7AFE-C855-A7691A40E04E}"/>
          </ac:grpSpMkLst>
        </pc:grpChg>
        <pc:grpChg chg="del">
          <ac:chgData name="Otavio Augusto Sabia Gava" userId="68ac195b-011b-467c-86d4-321df89323d0" providerId="ADAL" clId="{0C687AD9-2800-41E2-AA69-D02ABC7EDD76}" dt="2023-11-21T01:49:41.362" v="9853" actId="478"/>
          <ac:grpSpMkLst>
            <pc:docMk/>
            <pc:sldMk cId="942987416" sldId="3027"/>
            <ac:grpSpMk id="67" creationId="{18E65D7D-DB1E-829A-CF6D-650E615AFE35}"/>
          </ac:grpSpMkLst>
        </pc:grpChg>
        <pc:grpChg chg="add mod">
          <ac:chgData name="Otavio Augusto Sabia Gava" userId="68ac195b-011b-467c-86d4-321df89323d0" providerId="ADAL" clId="{0C687AD9-2800-41E2-AA69-D02ABC7EDD76}" dt="2023-11-21T01:49:41.682" v="9854"/>
          <ac:grpSpMkLst>
            <pc:docMk/>
            <pc:sldMk cId="942987416" sldId="3027"/>
            <ac:grpSpMk id="101" creationId="{4D4188FC-3F9C-18A6-F20E-5144B3AA30B8}"/>
          </ac:grpSpMkLst>
        </pc:grpChg>
        <pc:grpChg chg="add mod">
          <ac:chgData name="Otavio Augusto Sabia Gava" userId="68ac195b-011b-467c-86d4-321df89323d0" providerId="ADAL" clId="{0C687AD9-2800-41E2-AA69-D02ABC7EDD76}" dt="2023-11-21T01:49:41.682" v="9854"/>
          <ac:grpSpMkLst>
            <pc:docMk/>
            <pc:sldMk cId="942987416" sldId="3027"/>
            <ac:grpSpMk id="113" creationId="{8651C8D9-5F99-2467-46DF-87B179B66130}"/>
          </ac:grpSpMkLst>
        </pc:grpChg>
        <pc:grpChg chg="mod">
          <ac:chgData name="Otavio Augusto Sabia Gava" userId="68ac195b-011b-467c-86d4-321df89323d0" providerId="ADAL" clId="{0C687AD9-2800-41E2-AA69-D02ABC7EDD76}" dt="2023-11-21T01:49:41.682" v="9854"/>
          <ac:grpSpMkLst>
            <pc:docMk/>
            <pc:sldMk cId="942987416" sldId="3027"/>
            <ac:grpSpMk id="115" creationId="{FB440A20-BAE4-7C2A-7F6E-DD1C238A608E}"/>
          </ac:grpSpMkLst>
        </pc:grpChg>
        <pc:grpChg chg="add mod">
          <ac:chgData name="Otavio Augusto Sabia Gava" userId="68ac195b-011b-467c-86d4-321df89323d0" providerId="ADAL" clId="{0C687AD9-2800-41E2-AA69-D02ABC7EDD76}" dt="2023-11-21T01:49:41.682" v="9854"/>
          <ac:grpSpMkLst>
            <pc:docMk/>
            <pc:sldMk cId="942987416" sldId="3027"/>
            <ac:grpSpMk id="126" creationId="{656CD38A-58B9-9B67-CBA9-25D2FF697E5C}"/>
          </ac:grpSpMkLst>
        </pc:grpChg>
        <pc:grpChg chg="mod">
          <ac:chgData name="Otavio Augusto Sabia Gava" userId="68ac195b-011b-467c-86d4-321df89323d0" providerId="ADAL" clId="{0C687AD9-2800-41E2-AA69-D02ABC7EDD76}" dt="2023-11-21T01:49:41.682" v="9854"/>
          <ac:grpSpMkLst>
            <pc:docMk/>
            <pc:sldMk cId="942987416" sldId="3027"/>
            <ac:grpSpMk id="128" creationId="{F50D6691-E393-CD72-9C64-6D793567C700}"/>
          </ac:grpSpMkLst>
        </pc:grpChg>
        <pc:picChg chg="add mod">
          <ac:chgData name="Otavio Augusto Sabia Gava" userId="68ac195b-011b-467c-86d4-321df89323d0" providerId="ADAL" clId="{0C687AD9-2800-41E2-AA69-D02ABC7EDD76}" dt="2023-11-21T01:52:47.661" v="9887" actId="207"/>
          <ac:picMkLst>
            <pc:docMk/>
            <pc:sldMk cId="942987416" sldId="3027"/>
            <ac:picMk id="3" creationId="{841BF70E-F800-5520-82A4-75DEE3331268}"/>
          </ac:picMkLst>
        </pc:picChg>
        <pc:picChg chg="add mod">
          <ac:chgData name="Otavio Augusto Sabia Gava" userId="68ac195b-011b-467c-86d4-321df89323d0" providerId="ADAL" clId="{0C687AD9-2800-41E2-AA69-D02ABC7EDD76}" dt="2023-11-21T01:52:47.661" v="9887" actId="207"/>
          <ac:picMkLst>
            <pc:docMk/>
            <pc:sldMk cId="942987416" sldId="3027"/>
            <ac:picMk id="4" creationId="{5CFD15DB-835C-886F-43D9-C9C75EB07F35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0" creationId="{3F27ECD0-4231-5121-2972-9F67F8C7D7D2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1" creationId="{672C1F3C-E15D-B842-4F68-E0FF726821B0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4" creationId="{1AD6A67A-B068-6745-AD5A-66BB797A6F4B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6" creationId="{1CE603F7-1A23-2B3B-7A0F-31E77CA53AE6}"/>
          </ac:picMkLst>
        </pc:picChg>
        <pc:picChg chg="add mod">
          <ac:chgData name="Otavio Augusto Sabia Gava" userId="68ac195b-011b-467c-86d4-321df89323d0" providerId="ADAL" clId="{0C687AD9-2800-41E2-AA69-D02ABC7EDD76}" dt="2023-11-21T01:51:52.358" v="9880" actId="207"/>
          <ac:picMkLst>
            <pc:docMk/>
            <pc:sldMk cId="942987416" sldId="3027"/>
            <ac:picMk id="18" creationId="{EDCAADB9-5F53-72AE-237C-F9BBD69CDCEE}"/>
          </ac:picMkLst>
        </pc:picChg>
        <pc:picChg chg="add mod">
          <ac:chgData name="Otavio Augusto Sabia Gava" userId="68ac195b-011b-467c-86d4-321df89323d0" providerId="ADAL" clId="{0C687AD9-2800-41E2-AA69-D02ABC7EDD76}" dt="2023-11-21T01:51:52.358" v="9880" actId="207"/>
          <ac:picMkLst>
            <pc:docMk/>
            <pc:sldMk cId="942987416" sldId="3027"/>
            <ac:picMk id="20" creationId="{BD6A171C-ACA0-7AFD-0A9F-D5CB4B2CB540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22" creationId="{E2ED188C-C537-CF9D-63F2-980C72617FFF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28" creationId="{A6D6E545-6DBA-2AEC-5118-805573683B43}"/>
          </ac:picMkLst>
        </pc:picChg>
        <pc:picChg chg="add mod">
          <ac:chgData name="Otavio Augusto Sabia Gava" userId="68ac195b-011b-467c-86d4-321df89323d0" providerId="ADAL" clId="{0C687AD9-2800-41E2-AA69-D02ABC7EDD76}" dt="2023-11-21T01:51:52.358" v="9880" actId="207"/>
          <ac:picMkLst>
            <pc:docMk/>
            <pc:sldMk cId="942987416" sldId="3027"/>
            <ac:picMk id="30" creationId="{99E4F6C4-7C63-3E37-7057-C71B4CCEC3F7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32" creationId="{3ECD57E1-4183-3C46-70D7-9C143E473766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34" creationId="{7E299FFB-D3EA-67AE-E002-B27442CA255C}"/>
          </ac:picMkLst>
        </pc:picChg>
        <pc:picChg chg="del">
          <ac:chgData name="Otavio Augusto Sabia Gava" userId="68ac195b-011b-467c-86d4-321df89323d0" providerId="ADAL" clId="{0C687AD9-2800-41E2-AA69-D02ABC7EDD76}" dt="2023-11-21T01:49:41.362" v="9853" actId="478"/>
          <ac:picMkLst>
            <pc:docMk/>
            <pc:sldMk cId="942987416" sldId="3027"/>
            <ac:picMk id="57" creationId="{47A85A5B-25E5-8232-3E22-08BD31BC6FDF}"/>
          </ac:picMkLst>
        </pc:picChg>
        <pc:picChg chg="add mod">
          <ac:chgData name="Otavio Augusto Sabia Gava" userId="68ac195b-011b-467c-86d4-321df89323d0" providerId="ADAL" clId="{0C687AD9-2800-41E2-AA69-D02ABC7EDD76}" dt="2023-11-21T01:51:52.358" v="9880" actId="207"/>
          <ac:picMkLst>
            <pc:docMk/>
            <pc:sldMk cId="942987416" sldId="3027"/>
            <ac:picMk id="82" creationId="{DAC9B103-15BB-1803-CF20-53AF42C6E345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84" creationId="{69A06DE5-C505-9679-7493-5B7930EB90B4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86" creationId="{78488F40-0864-F097-39E3-FBC6BF752508}"/>
          </ac:picMkLst>
        </pc:picChg>
        <pc:picChg chg="add mod">
          <ac:chgData name="Otavio Augusto Sabia Gava" userId="68ac195b-011b-467c-86d4-321df89323d0" providerId="ADAL" clId="{0C687AD9-2800-41E2-AA69-D02ABC7EDD76}" dt="2023-11-21T01:53:03.439" v="9890" actId="207"/>
          <ac:picMkLst>
            <pc:docMk/>
            <pc:sldMk cId="942987416" sldId="3027"/>
            <ac:picMk id="88" creationId="{0809F81A-13BC-4BF8-4FB1-B0D12F6EA36B}"/>
          </ac:picMkLst>
        </pc:picChg>
        <pc:picChg chg="add mod">
          <ac:chgData name="Otavio Augusto Sabia Gava" userId="68ac195b-011b-467c-86d4-321df89323d0" providerId="ADAL" clId="{0C687AD9-2800-41E2-AA69-D02ABC7EDD76}" dt="2023-11-21T01:53:03.439" v="9890" actId="207"/>
          <ac:picMkLst>
            <pc:docMk/>
            <pc:sldMk cId="942987416" sldId="3027"/>
            <ac:picMk id="89" creationId="{60FF3D4A-A0FA-F5BE-1317-4089CF5D1697}"/>
          </ac:picMkLst>
        </pc:picChg>
        <pc:picChg chg="mod">
          <ac:chgData name="Otavio Augusto Sabia Gava" userId="68ac195b-011b-467c-86d4-321df89323d0" providerId="ADAL" clId="{0C687AD9-2800-41E2-AA69-D02ABC7EDD76}" dt="2023-11-28T19:46:31.781" v="21752"/>
          <ac:picMkLst>
            <pc:docMk/>
            <pc:sldMk cId="942987416" sldId="3027"/>
            <ac:picMk id="90" creationId="{A307619D-7E7E-9AF2-AC93-1D1D7315D7E7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03" creationId="{C4A4F6A4-F728-8012-92B3-8426959081C6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04" creationId="{0CB2B276-B3DC-D219-9EDF-9D37F9720D40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05" creationId="{A591E02C-EE5E-62B1-B261-450D91C0C02A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14" creationId="{0A3BF653-50CE-77BB-FF81-93B700DDD810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17" creationId="{F19C8A66-1617-9A44-C1E0-624A5CB6F086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27" creationId="{AE9AAD1D-6912-6681-FC4B-BEB205DD94C1}"/>
          </ac:picMkLst>
        </pc:picChg>
        <pc:picChg chg="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30" creationId="{155CE627-2620-48F8-FE23-1AA092135260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35" creationId="{349AF8FC-352E-0488-3774-1DF955324C3D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37" creationId="{CFDE6B50-376B-4944-6318-9F39BCCB22F4}"/>
          </ac:picMkLst>
        </pc:picChg>
        <pc:picChg chg="add mod">
          <ac:chgData name="Otavio Augusto Sabia Gava" userId="68ac195b-011b-467c-86d4-321df89323d0" providerId="ADAL" clId="{0C687AD9-2800-41E2-AA69-D02ABC7EDD76}" dt="2023-11-21T01:54:15.160" v="9893" actId="207"/>
          <ac:picMkLst>
            <pc:docMk/>
            <pc:sldMk cId="942987416" sldId="3027"/>
            <ac:picMk id="139" creationId="{C0078F88-C0DD-E178-9DC1-C6D8DC432CE3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42" creationId="{C7FA533F-B6D3-E3BF-5603-10BB98EBDED1}"/>
          </ac:picMkLst>
        </pc:picChg>
        <pc:picChg chg="add mod">
          <ac:chgData name="Otavio Augusto Sabia Gava" userId="68ac195b-011b-467c-86d4-321df89323d0" providerId="ADAL" clId="{0C687AD9-2800-41E2-AA69-D02ABC7EDD76}" dt="2023-11-21T01:49:41.682" v="9854"/>
          <ac:picMkLst>
            <pc:docMk/>
            <pc:sldMk cId="942987416" sldId="3027"/>
            <ac:picMk id="145" creationId="{AB3D7AA2-A251-B5A6-932C-ACB89AB6009A}"/>
          </ac:picMkLst>
        </pc:picChg>
        <pc:picChg chg="add mod">
          <ac:chgData name="Otavio Augusto Sabia Gava" userId="68ac195b-011b-467c-86d4-321df89323d0" providerId="ADAL" clId="{0C687AD9-2800-41E2-AA69-D02ABC7EDD76}" dt="2023-11-21T02:07:05.811" v="10156"/>
          <ac:picMkLst>
            <pc:docMk/>
            <pc:sldMk cId="942987416" sldId="3027"/>
            <ac:picMk id="155" creationId="{E64AC1FE-0E41-0649-36E4-E25867BF7734}"/>
          </ac:picMkLst>
        </pc:picChg>
        <pc:cxnChg chg="del mod">
          <ac:chgData name="Otavio Augusto Sabia Gava" userId="68ac195b-011b-467c-86d4-321df89323d0" providerId="ADAL" clId="{0C687AD9-2800-41E2-AA69-D02ABC7EDD76}" dt="2023-11-21T01:49:41.362" v="9853" actId="478"/>
          <ac:cxnSpMkLst>
            <pc:docMk/>
            <pc:sldMk cId="942987416" sldId="3027"/>
            <ac:cxnSpMk id="44" creationId="{332F8444-415B-3F01-4065-E8753C153207}"/>
          </ac:cxnSpMkLst>
        </pc:cxnChg>
        <pc:cxnChg chg="del mod">
          <ac:chgData name="Otavio Augusto Sabia Gava" userId="68ac195b-011b-467c-86d4-321df89323d0" providerId="ADAL" clId="{0C687AD9-2800-41E2-AA69-D02ABC7EDD76}" dt="2023-11-21T01:49:41.362" v="9853" actId="478"/>
          <ac:cxnSpMkLst>
            <pc:docMk/>
            <pc:sldMk cId="942987416" sldId="3027"/>
            <ac:cxnSpMk id="45" creationId="{D2A2B7D0-BB5F-F5DA-18D4-A496CB889350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1" creationId="{5A53F9C4-B6C0-8260-686E-64EB3B6CA2D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2" creationId="{9F182207-8947-2089-F020-3956D4EB3865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3" creationId="{27498579-F153-2879-CF0A-AC26E241C22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4" creationId="{0322D31F-C918-62DF-45DC-FACFFC1214C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5" creationId="{A16D5CCF-C027-8747-3973-357D193D6B40}"/>
          </ac:cxnSpMkLst>
        </pc:cxnChg>
        <pc:cxnChg chg="add mod">
          <ac:chgData name="Otavio Augusto Sabia Gava" userId="68ac195b-011b-467c-86d4-321df89323d0" providerId="ADAL" clId="{0C687AD9-2800-41E2-AA69-D02ABC7EDD76}" dt="2023-11-21T01:55:20.169" v="9913" actId="1076"/>
          <ac:cxnSpMkLst>
            <pc:docMk/>
            <pc:sldMk cId="942987416" sldId="3027"/>
            <ac:cxnSpMk id="76" creationId="{59EB17CA-13BE-D41D-49B4-4024CE190624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7" creationId="{3DBB2E0A-3AA7-B201-A611-2590EF4BF310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8" creationId="{5702F413-4340-7BD2-00C6-EBB483D6E4AE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79" creationId="{4E9C12B4-39BF-1C3C-5A63-A6245229B157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80" creationId="{31ABF822-2973-8FBB-0F26-0CB364167CA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81" creationId="{7AF30C1D-9BC9-8575-7E66-76FEB5AC5851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85" creationId="{2C7AF30E-5B40-892D-434E-82C5D30D5C5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93" creationId="{FCE8F0AD-7B2C-4B9F-F85B-6C334520506F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94" creationId="{A9578501-C8F0-22E2-5142-BD6C8101B574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95" creationId="{2C3CC657-F0C3-BD60-8787-8EE8A35869FC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98" creationId="{E95133C1-A93D-C022-4B16-FCF79AC2710C}"/>
          </ac:cxnSpMkLst>
        </pc:cxnChg>
        <pc:cxnChg chg="add mod">
          <ac:chgData name="Otavio Augusto Sabia Gava" userId="68ac195b-011b-467c-86d4-321df89323d0" providerId="ADAL" clId="{0C687AD9-2800-41E2-AA69-D02ABC7EDD76}" dt="2023-11-21T01:59:39.910" v="9999" actId="14100"/>
          <ac:cxnSpMkLst>
            <pc:docMk/>
            <pc:sldMk cId="942987416" sldId="3027"/>
            <ac:cxnSpMk id="118" creationId="{9451B1D1-8D2C-7807-F7D6-6552D6B0678B}"/>
          </ac:cxnSpMkLst>
        </pc:cxnChg>
        <pc:cxnChg chg="add mod">
          <ac:chgData name="Otavio Augusto Sabia Gava" userId="68ac195b-011b-467c-86d4-321df89323d0" providerId="ADAL" clId="{0C687AD9-2800-41E2-AA69-D02ABC7EDD76}" dt="2023-11-21T01:59:25.260" v="9998" actId="14100"/>
          <ac:cxnSpMkLst>
            <pc:docMk/>
            <pc:sldMk cId="942987416" sldId="3027"/>
            <ac:cxnSpMk id="119" creationId="{477B66DA-0FB2-6CD9-C8EC-42C65E0B654E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21" creationId="{F04DDEAD-4761-DA2E-7F1D-7EDD0999AE9E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22" creationId="{76F321E7-EC73-7120-1081-0A8E1FABF9DC}"/>
          </ac:cxnSpMkLst>
        </pc:cxnChg>
        <pc:cxnChg chg="add mod">
          <ac:chgData name="Otavio Augusto Sabia Gava" userId="68ac195b-011b-467c-86d4-321df89323d0" providerId="ADAL" clId="{0C687AD9-2800-41E2-AA69-D02ABC7EDD76}" dt="2023-11-21T01:58:30.219" v="9985" actId="1076"/>
          <ac:cxnSpMkLst>
            <pc:docMk/>
            <pc:sldMk cId="942987416" sldId="3027"/>
            <ac:cxnSpMk id="124" creationId="{602DF45A-C122-491C-ADDD-81A5AA6C2857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25" creationId="{BDDBD0FC-277F-A09B-06AC-E3CF22C52B65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38" creationId="{3B94B9DC-C1FD-657C-7F49-2E6F8726AAFA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40" creationId="{3F4FC2E7-04B3-AF21-4B57-832C3D8E008C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43" creationId="{34F44947-FCDF-BE66-9FB8-B0EFDF40FDEF}"/>
          </ac:cxnSpMkLst>
        </pc:cxnChg>
        <pc:cxnChg chg="add mod">
          <ac:chgData name="Otavio Augusto Sabia Gava" userId="68ac195b-011b-467c-86d4-321df89323d0" providerId="ADAL" clId="{0C687AD9-2800-41E2-AA69-D02ABC7EDD76}" dt="2023-11-21T01:49:41.682" v="9854"/>
          <ac:cxnSpMkLst>
            <pc:docMk/>
            <pc:sldMk cId="942987416" sldId="3027"/>
            <ac:cxnSpMk id="146" creationId="{BF2AAC3F-9D56-66E8-A6E9-08D495A556E2}"/>
          </ac:cxnSpMkLst>
        </pc:cxnChg>
        <pc:cxnChg chg="add mod">
          <ac:chgData name="Otavio Augusto Sabia Gava" userId="68ac195b-011b-467c-86d4-321df89323d0" providerId="ADAL" clId="{0C687AD9-2800-41E2-AA69-D02ABC7EDD76}" dt="2023-11-21T01:58:33.484" v="9986" actId="1076"/>
          <ac:cxnSpMkLst>
            <pc:docMk/>
            <pc:sldMk cId="942987416" sldId="3027"/>
            <ac:cxnSpMk id="148" creationId="{22FF5438-1450-F672-E5DF-E4CA7B871BB7}"/>
          </ac:cxnSpMkLst>
        </pc:cxnChg>
      </pc:sldChg>
      <pc:sldChg chg="new del">
        <pc:chgData name="Otavio Augusto Sabia Gava" userId="68ac195b-011b-467c-86d4-321df89323d0" providerId="ADAL" clId="{0C687AD9-2800-41E2-AA69-D02ABC7EDD76}" dt="2023-11-21T00:16:57.567" v="9845" actId="680"/>
        <pc:sldMkLst>
          <pc:docMk/>
          <pc:sldMk cId="4111491797" sldId="3027"/>
        </pc:sldMkLst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491092627" sldId="3028"/>
        </pc:sldMkLst>
        <pc:spChg chg="mod">
          <ac:chgData name="Otavio Augusto Sabia Gava" userId="68ac195b-011b-467c-86d4-321df89323d0" providerId="ADAL" clId="{0C687AD9-2800-41E2-AA69-D02ABC7EDD76}" dt="2023-11-21T02:01:38.085" v="10035"/>
          <ac:spMkLst>
            <pc:docMk/>
            <pc:sldMk cId="491092627" sldId="3028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6" creationId="{257B1FCF-1141-8D70-56B0-AEA668AA387F}"/>
          </ac:spMkLst>
        </pc:spChg>
        <pc:spChg chg="add mod">
          <ac:chgData name="Otavio Augusto Sabia Gava" userId="68ac195b-011b-467c-86d4-321df89323d0" providerId="ADAL" clId="{0C687AD9-2800-41E2-AA69-D02ABC7EDD76}" dt="2023-11-21T02:04:46.785" v="10103" actId="403"/>
          <ac:spMkLst>
            <pc:docMk/>
            <pc:sldMk cId="491092627" sldId="3028"/>
            <ac:spMk id="11" creationId="{706661BE-263C-F378-5B98-3A96C8E7CA17}"/>
          </ac:spMkLst>
        </pc:spChg>
        <pc:spChg chg="add mod">
          <ac:chgData name="Otavio Augusto Sabia Gava" userId="68ac195b-011b-467c-86d4-321df89323d0" providerId="ADAL" clId="{0C687AD9-2800-41E2-AA69-D02ABC7EDD76}" dt="2023-11-21T02:04:52.167" v="10105" actId="403"/>
          <ac:spMkLst>
            <pc:docMk/>
            <pc:sldMk cId="491092627" sldId="3028"/>
            <ac:spMk id="15" creationId="{87026CA5-7E91-17EB-705D-84ECDB1F475F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19" creationId="{D2D1DDA1-12C0-E91E-578D-FA137E6AD2A5}"/>
          </ac:spMkLst>
        </pc:spChg>
        <pc:spChg chg="add mod">
          <ac:chgData name="Otavio Augusto Sabia Gava" userId="68ac195b-011b-467c-86d4-321df89323d0" providerId="ADAL" clId="{0C687AD9-2800-41E2-AA69-D02ABC7EDD76}" dt="2023-11-21T02:04:41.142" v="10101" actId="1076"/>
          <ac:spMkLst>
            <pc:docMk/>
            <pc:sldMk cId="491092627" sldId="3028"/>
            <ac:spMk id="20" creationId="{664F2241-DC77-02CD-22E4-5963C38E5256}"/>
          </ac:spMkLst>
        </pc:spChg>
        <pc:spChg chg="del">
          <ac:chgData name="Otavio Augusto Sabia Gava" userId="68ac195b-011b-467c-86d4-321df89323d0" providerId="ADAL" clId="{0C687AD9-2800-41E2-AA69-D02ABC7EDD76}" dt="2023-11-21T02:01:27.330" v="10033" actId="478"/>
          <ac:spMkLst>
            <pc:docMk/>
            <pc:sldMk cId="491092627" sldId="3028"/>
            <ac:spMk id="25" creationId="{3EF9A1C7-2AAA-FDF7-D59D-75BCFC78F306}"/>
          </ac:spMkLst>
        </pc:spChg>
        <pc:spChg chg="add mod">
          <ac:chgData name="Otavio Augusto Sabia Gava" userId="68ac195b-011b-467c-86d4-321df89323d0" providerId="ADAL" clId="{0C687AD9-2800-41E2-AA69-D02ABC7EDD76}" dt="2023-11-21T02:04:32.713" v="10098" actId="404"/>
          <ac:spMkLst>
            <pc:docMk/>
            <pc:sldMk cId="491092627" sldId="3028"/>
            <ac:spMk id="28" creationId="{3B7F7A0D-C3C8-419A-A84E-40023AA45A11}"/>
          </ac:spMkLst>
        </pc:spChg>
        <pc:spChg chg="add mod">
          <ac:chgData name="Otavio Augusto Sabia Gava" userId="68ac195b-011b-467c-86d4-321df89323d0" providerId="ADAL" clId="{0C687AD9-2800-41E2-AA69-D02ABC7EDD76}" dt="2023-11-21T02:04:02.820" v="10085" actId="1076"/>
          <ac:spMkLst>
            <pc:docMk/>
            <pc:sldMk cId="491092627" sldId="3028"/>
            <ac:spMk id="30" creationId="{88A04D4C-D7C5-4466-F0CE-D6ECEA217987}"/>
          </ac:spMkLst>
        </pc:spChg>
        <pc:spChg chg="add mod">
          <ac:chgData name="Otavio Augusto Sabia Gava" userId="68ac195b-011b-467c-86d4-321df89323d0" providerId="ADAL" clId="{0C687AD9-2800-41E2-AA69-D02ABC7EDD76}" dt="2023-11-21T02:04:26.033" v="10094" actId="1076"/>
          <ac:spMkLst>
            <pc:docMk/>
            <pc:sldMk cId="491092627" sldId="3028"/>
            <ac:spMk id="32" creationId="{FB17FB34-B77F-094F-2049-0034304D5A0F}"/>
          </ac:spMkLst>
        </pc:spChg>
        <pc:spChg chg="add mod">
          <ac:chgData name="Otavio Augusto Sabia Gava" userId="68ac195b-011b-467c-86d4-321df89323d0" providerId="ADAL" clId="{0C687AD9-2800-41E2-AA69-D02ABC7EDD76}" dt="2023-11-21T02:02:19.177" v="10051" actId="208"/>
          <ac:spMkLst>
            <pc:docMk/>
            <pc:sldMk cId="491092627" sldId="3028"/>
            <ac:spMk id="33" creationId="{2AA8473F-0832-E7FE-0848-18F8CA49F49C}"/>
          </ac:spMkLst>
        </pc:spChg>
        <pc:spChg chg="del">
          <ac:chgData name="Otavio Augusto Sabia Gava" userId="68ac195b-011b-467c-86d4-321df89323d0" providerId="ADAL" clId="{0C687AD9-2800-41E2-AA69-D02ABC7EDD76}" dt="2023-11-21T02:01:27.330" v="10033" actId="478"/>
          <ac:spMkLst>
            <pc:docMk/>
            <pc:sldMk cId="491092627" sldId="3028"/>
            <ac:spMk id="38" creationId="{DB69E4C5-C893-3A58-1AE9-D6332AB927F8}"/>
          </ac:spMkLst>
        </pc:spChg>
        <pc:spChg chg="del">
          <ac:chgData name="Otavio Augusto Sabia Gava" userId="68ac195b-011b-467c-86d4-321df89323d0" providerId="ADAL" clId="{0C687AD9-2800-41E2-AA69-D02ABC7EDD76}" dt="2023-11-21T02:01:27.330" v="10033" actId="478"/>
          <ac:spMkLst>
            <pc:docMk/>
            <pc:sldMk cId="491092627" sldId="3028"/>
            <ac:spMk id="40" creationId="{E985372E-FD86-09B8-2D3B-3623753F841B}"/>
          </ac:spMkLst>
        </pc:spChg>
        <pc:spChg chg="del">
          <ac:chgData name="Otavio Augusto Sabia Gava" userId="68ac195b-011b-467c-86d4-321df89323d0" providerId="ADAL" clId="{0C687AD9-2800-41E2-AA69-D02ABC7EDD76}" dt="2023-11-21T02:01:27.330" v="10033" actId="478"/>
          <ac:spMkLst>
            <pc:docMk/>
            <pc:sldMk cId="491092627" sldId="3028"/>
            <ac:spMk id="45" creationId="{E2844B45-5060-3800-B3B4-BEE4B6D7823F}"/>
          </ac:spMkLst>
        </pc:spChg>
        <pc:spChg chg="del">
          <ac:chgData name="Otavio Augusto Sabia Gava" userId="68ac195b-011b-467c-86d4-321df89323d0" providerId="ADAL" clId="{0C687AD9-2800-41E2-AA69-D02ABC7EDD76}" dt="2023-11-21T02:01:29.025" v="10034" actId="478"/>
          <ac:spMkLst>
            <pc:docMk/>
            <pc:sldMk cId="491092627" sldId="3028"/>
            <ac:spMk id="51" creationId="{6B06994A-70C3-6DBF-E8AB-3208FF5A6306}"/>
          </ac:spMkLst>
        </pc:spChg>
        <pc:spChg chg="del">
          <ac:chgData name="Otavio Augusto Sabia Gava" userId="68ac195b-011b-467c-86d4-321df89323d0" providerId="ADAL" clId="{0C687AD9-2800-41E2-AA69-D02ABC7EDD76}" dt="2023-11-21T02:01:29.025" v="10034" actId="478"/>
          <ac:spMkLst>
            <pc:docMk/>
            <pc:sldMk cId="491092627" sldId="3028"/>
            <ac:spMk id="54" creationId="{2A3C95F4-B2FB-994B-D2C9-8E8396D8859C}"/>
          </ac:spMkLst>
        </pc:spChg>
        <pc:spChg chg="del">
          <ac:chgData name="Otavio Augusto Sabia Gava" userId="68ac195b-011b-467c-86d4-321df89323d0" providerId="ADAL" clId="{0C687AD9-2800-41E2-AA69-D02ABC7EDD76}" dt="2023-11-21T02:01:29.025" v="10034" actId="478"/>
          <ac:spMkLst>
            <pc:docMk/>
            <pc:sldMk cId="491092627" sldId="3028"/>
            <ac:spMk id="56" creationId="{DED73B5E-C676-8018-5598-79984A586F9C}"/>
          </ac:spMkLst>
        </pc:spChg>
        <pc:spChg chg="del">
          <ac:chgData name="Otavio Augusto Sabia Gava" userId="68ac195b-011b-467c-86d4-321df89323d0" providerId="ADAL" clId="{0C687AD9-2800-41E2-AA69-D02ABC7EDD76}" dt="2023-11-21T02:01:27.330" v="10033" actId="478"/>
          <ac:spMkLst>
            <pc:docMk/>
            <pc:sldMk cId="491092627" sldId="3028"/>
            <ac:spMk id="62" creationId="{B5DBFF4C-CF5D-AD2E-E28C-5FB1164013F1}"/>
          </ac:spMkLst>
        </pc:spChg>
        <pc:spChg chg="add mod">
          <ac:chgData name="Otavio Augusto Sabia Gava" userId="68ac195b-011b-467c-86d4-321df89323d0" providerId="ADAL" clId="{0C687AD9-2800-41E2-AA69-D02ABC7EDD76}" dt="2023-11-21T02:03:22.317" v="10067" actId="1076"/>
          <ac:spMkLst>
            <pc:docMk/>
            <pc:sldMk cId="491092627" sldId="3028"/>
            <ac:spMk id="73" creationId="{DE1A7ED1-A62B-A1AF-BF99-4A15EED42071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74" creationId="{CD78102B-D3C1-C0DD-EC10-EDEC1DDF2D4B}"/>
          </ac:spMkLst>
        </pc:spChg>
        <pc:spChg chg="add mod">
          <ac:chgData name="Otavio Augusto Sabia Gava" userId="68ac195b-011b-467c-86d4-321df89323d0" providerId="ADAL" clId="{0C687AD9-2800-41E2-AA69-D02ABC7EDD76}" dt="2023-11-21T02:03:05.576" v="10061" actId="403"/>
          <ac:spMkLst>
            <pc:docMk/>
            <pc:sldMk cId="491092627" sldId="3028"/>
            <ac:spMk id="76" creationId="{1E61A2F4-8A93-E992-288B-D758E4059634}"/>
          </ac:spMkLst>
        </pc:spChg>
        <pc:spChg chg="add mod">
          <ac:chgData name="Otavio Augusto Sabia Gava" userId="68ac195b-011b-467c-86d4-321df89323d0" providerId="ADAL" clId="{0C687AD9-2800-41E2-AA69-D02ABC7EDD76}" dt="2023-11-21T02:03:38.262" v="10073" actId="1076"/>
          <ac:spMkLst>
            <pc:docMk/>
            <pc:sldMk cId="491092627" sldId="3028"/>
            <ac:spMk id="77" creationId="{F1D4DFEF-1BED-EFCF-73C0-EF71387AC316}"/>
          </ac:spMkLst>
        </pc:spChg>
        <pc:spChg chg="add mod">
          <ac:chgData name="Otavio Augusto Sabia Gava" userId="68ac195b-011b-467c-86d4-321df89323d0" providerId="ADAL" clId="{0C687AD9-2800-41E2-AA69-D02ABC7EDD76}" dt="2023-11-21T02:05:35.641" v="10120" actId="403"/>
          <ac:spMkLst>
            <pc:docMk/>
            <pc:sldMk cId="491092627" sldId="3028"/>
            <ac:spMk id="79" creationId="{F283FA39-0B63-E77D-ECA6-212E500A2D6D}"/>
          </ac:spMkLst>
        </pc:spChg>
        <pc:spChg chg="add mod">
          <ac:chgData name="Otavio Augusto Sabia Gava" userId="68ac195b-011b-467c-86d4-321df89323d0" providerId="ADAL" clId="{0C687AD9-2800-41E2-AA69-D02ABC7EDD76}" dt="2023-11-21T02:05:46.691" v="10127" actId="1076"/>
          <ac:spMkLst>
            <pc:docMk/>
            <pc:sldMk cId="491092627" sldId="3028"/>
            <ac:spMk id="80" creationId="{77906E8F-08CF-16B5-4C09-364255F29068}"/>
          </ac:spMkLst>
        </pc:spChg>
        <pc:spChg chg="add mod">
          <ac:chgData name="Otavio Augusto Sabia Gava" userId="68ac195b-011b-467c-86d4-321df89323d0" providerId="ADAL" clId="{0C687AD9-2800-41E2-AA69-D02ABC7EDD76}" dt="2023-11-21T02:06:23.086" v="10144" actId="403"/>
          <ac:spMkLst>
            <pc:docMk/>
            <pc:sldMk cId="491092627" sldId="3028"/>
            <ac:spMk id="83" creationId="{509FCF4E-B889-1666-D79D-694B3AA66512}"/>
          </ac:spMkLst>
        </pc:spChg>
        <pc:spChg chg="add mod">
          <ac:chgData name="Otavio Augusto Sabia Gava" userId="68ac195b-011b-467c-86d4-321df89323d0" providerId="ADAL" clId="{0C687AD9-2800-41E2-AA69-D02ABC7EDD76}" dt="2023-11-21T02:06:19.312" v="10141" actId="403"/>
          <ac:spMkLst>
            <pc:docMk/>
            <pc:sldMk cId="491092627" sldId="3028"/>
            <ac:spMk id="84" creationId="{C40570A4-4639-6BF0-9C11-783D1D59544D}"/>
          </ac:spMkLst>
        </pc:spChg>
        <pc:spChg chg="add mod">
          <ac:chgData name="Otavio Augusto Sabia Gava" userId="68ac195b-011b-467c-86d4-321df89323d0" providerId="ADAL" clId="{0C687AD9-2800-41E2-AA69-D02ABC7EDD76}" dt="2023-11-21T02:02:51.642" v="10056" actId="208"/>
          <ac:spMkLst>
            <pc:docMk/>
            <pc:sldMk cId="491092627" sldId="3028"/>
            <ac:spMk id="85" creationId="{D42CEF2B-2398-629A-E71F-22B60C3CE380}"/>
          </ac:spMkLst>
        </pc:spChg>
        <pc:spChg chg="mod">
          <ac:chgData name="Otavio Augusto Sabia Gava" userId="68ac195b-011b-467c-86d4-321df89323d0" providerId="ADAL" clId="{0C687AD9-2800-41E2-AA69-D02ABC7EDD76}" dt="2023-11-21T02:02:48.125" v="10055" actId="207"/>
          <ac:spMkLst>
            <pc:docMk/>
            <pc:sldMk cId="491092627" sldId="3028"/>
            <ac:spMk id="87" creationId="{5858CA43-01EB-9DF2-72AE-C1327527097D}"/>
          </ac:spMkLst>
        </pc:spChg>
        <pc:spChg chg="add mod">
          <ac:chgData name="Otavio Augusto Sabia Gava" userId="68ac195b-011b-467c-86d4-321df89323d0" providerId="ADAL" clId="{0C687AD9-2800-41E2-AA69-D02ABC7EDD76}" dt="2023-11-21T02:06:41.127" v="10154" actId="1076"/>
          <ac:spMkLst>
            <pc:docMk/>
            <pc:sldMk cId="491092627" sldId="3028"/>
            <ac:spMk id="92" creationId="{56FD9D27-40B4-3B30-EDDF-723326913A08}"/>
          </ac:spMkLst>
        </pc:spChg>
        <pc:spChg chg="add mod">
          <ac:chgData name="Otavio Augusto Sabia Gava" userId="68ac195b-011b-467c-86d4-321df89323d0" providerId="ADAL" clId="{0C687AD9-2800-41E2-AA69-D02ABC7EDD76}" dt="2023-11-21T02:04:57.233" v="10107" actId="403"/>
          <ac:spMkLst>
            <pc:docMk/>
            <pc:sldMk cId="491092627" sldId="3028"/>
            <ac:spMk id="94" creationId="{8CF38FD8-73E9-C603-8E53-B70F9B12ED21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96" creationId="{AD5DD44F-2937-DB2E-8F7F-1332F110E1BF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97" creationId="{ED52EC0E-4557-D821-B45C-E5C4A2E679C5}"/>
          </ac:spMkLst>
        </pc:spChg>
        <pc:spChg chg="add mod">
          <ac:chgData name="Otavio Augusto Sabia Gava" userId="68ac195b-011b-467c-86d4-321df89323d0" providerId="ADAL" clId="{0C687AD9-2800-41E2-AA69-D02ABC7EDD76}" dt="2023-11-21T02:02:19.177" v="10051" actId="208"/>
          <ac:spMkLst>
            <pc:docMk/>
            <pc:sldMk cId="491092627" sldId="3028"/>
            <ac:spMk id="98" creationId="{7ED90F15-0A47-138C-CB6D-CFBEFF45AADF}"/>
          </ac:spMkLst>
        </pc:spChg>
        <pc:spChg chg="add mod">
          <ac:chgData name="Otavio Augusto Sabia Gava" userId="68ac195b-011b-467c-86d4-321df89323d0" providerId="ADAL" clId="{0C687AD9-2800-41E2-AA69-D02ABC7EDD76}" dt="2023-11-21T02:06:00.088" v="10134" actId="1038"/>
          <ac:spMkLst>
            <pc:docMk/>
            <pc:sldMk cId="491092627" sldId="3028"/>
            <ac:spMk id="99" creationId="{DA83B31C-93BE-3420-1720-E6A5E134BEE9}"/>
          </ac:spMkLst>
        </pc:spChg>
        <pc:spChg chg="add mod">
          <ac:chgData name="Otavio Augusto Sabia Gava" userId="68ac195b-011b-467c-86d4-321df89323d0" providerId="ADAL" clId="{0C687AD9-2800-41E2-AA69-D02ABC7EDD76}" dt="2023-11-21T02:01:48.847" v="10036"/>
          <ac:spMkLst>
            <pc:docMk/>
            <pc:sldMk cId="491092627" sldId="3028"/>
            <ac:spMk id="101" creationId="{075CAC12-8545-4ACC-B4C2-7A3488CF9AAB}"/>
          </ac:spMkLst>
        </pc:spChg>
        <pc:spChg chg="mod">
          <ac:chgData name="Otavio Augusto Sabia Gava" userId="68ac195b-011b-467c-86d4-321df89323d0" providerId="ADAL" clId="{0C687AD9-2800-41E2-AA69-D02ABC7EDD76}" dt="2023-11-21T02:06:10.451" v="10136" actId="2711"/>
          <ac:spMkLst>
            <pc:docMk/>
            <pc:sldMk cId="491092627" sldId="3028"/>
            <ac:spMk id="106" creationId="{59CA3F77-88A4-8B80-21A2-1F638F11E588}"/>
          </ac:spMkLst>
        </pc:spChg>
        <pc:spChg chg="add mod">
          <ac:chgData name="Otavio Augusto Sabia Gava" userId="68ac195b-011b-467c-86d4-321df89323d0" providerId="ADAL" clId="{0C687AD9-2800-41E2-AA69-D02ABC7EDD76}" dt="2023-11-21T02:05:01.368" v="10109" actId="403"/>
          <ac:spMkLst>
            <pc:docMk/>
            <pc:sldMk cId="491092627" sldId="3028"/>
            <ac:spMk id="109" creationId="{E9E282CD-8691-7948-94ED-3EFB0132AA94}"/>
          </ac:spMkLst>
        </pc:spChg>
        <pc:spChg chg="add mod">
          <ac:chgData name="Otavio Augusto Sabia Gava" userId="68ac195b-011b-467c-86d4-321df89323d0" providerId="ADAL" clId="{0C687AD9-2800-41E2-AA69-D02ABC7EDD76}" dt="2023-11-21T02:05:04.915" v="10111" actId="403"/>
          <ac:spMkLst>
            <pc:docMk/>
            <pc:sldMk cId="491092627" sldId="3028"/>
            <ac:spMk id="114" creationId="{F7AB7259-D9D3-8C06-AB05-7D97C5C8BAA1}"/>
          </ac:spMkLst>
        </pc:spChg>
        <pc:spChg chg="add mod">
          <ac:chgData name="Otavio Augusto Sabia Gava" userId="68ac195b-011b-467c-86d4-321df89323d0" providerId="ADAL" clId="{0C687AD9-2800-41E2-AA69-D02ABC7EDD76}" dt="2023-11-21T02:05:09.052" v="10113" actId="403"/>
          <ac:spMkLst>
            <pc:docMk/>
            <pc:sldMk cId="491092627" sldId="3028"/>
            <ac:spMk id="117" creationId="{F1487F2E-0C87-7E32-C335-A7F48AAB362E}"/>
          </ac:spMkLst>
        </pc:spChg>
        <pc:spChg chg="add mod">
          <ac:chgData name="Otavio Augusto Sabia Gava" userId="68ac195b-011b-467c-86d4-321df89323d0" providerId="ADAL" clId="{0C687AD9-2800-41E2-AA69-D02ABC7EDD76}" dt="2023-11-21T02:02:02.225" v="10050" actId="20577"/>
          <ac:spMkLst>
            <pc:docMk/>
            <pc:sldMk cId="491092627" sldId="3028"/>
            <ac:spMk id="118" creationId="{C8570649-D76B-5C1A-57D2-3CA4C6AB262E}"/>
          </ac:spMkLst>
        </pc:spChg>
        <pc:grpChg chg="del">
          <ac:chgData name="Otavio Augusto Sabia Gava" userId="68ac195b-011b-467c-86d4-321df89323d0" providerId="ADAL" clId="{0C687AD9-2800-41E2-AA69-D02ABC7EDD76}" dt="2023-11-21T02:01:29.025" v="10034" actId="478"/>
          <ac:grpSpMkLst>
            <pc:docMk/>
            <pc:sldMk cId="491092627" sldId="3028"/>
            <ac:grpSpMk id="2" creationId="{B7667BB9-8488-2757-81F7-457BB99ADDA0}"/>
          </ac:grpSpMkLst>
        </pc:grpChg>
        <pc:grpChg chg="del">
          <ac:chgData name="Otavio Augusto Sabia Gava" userId="68ac195b-011b-467c-86d4-321df89323d0" providerId="ADAL" clId="{0C687AD9-2800-41E2-AA69-D02ABC7EDD76}" dt="2023-11-21T02:01:27.330" v="10033" actId="478"/>
          <ac:grpSpMkLst>
            <pc:docMk/>
            <pc:sldMk cId="491092627" sldId="3028"/>
            <ac:grpSpMk id="13" creationId="{857E4F56-0A95-0669-CAE5-E875392B435D}"/>
          </ac:grpSpMkLst>
        </pc:grpChg>
        <pc:grpChg chg="del">
          <ac:chgData name="Otavio Augusto Sabia Gava" userId="68ac195b-011b-467c-86d4-321df89323d0" providerId="ADAL" clId="{0C687AD9-2800-41E2-AA69-D02ABC7EDD76}" dt="2023-11-21T02:01:27.330" v="10033" actId="478"/>
          <ac:grpSpMkLst>
            <pc:docMk/>
            <pc:sldMk cId="491092627" sldId="3028"/>
            <ac:grpSpMk id="65" creationId="{515A8D72-D489-596A-BF23-EEE08316C7C5}"/>
          </ac:grpSpMkLst>
        </pc:grpChg>
        <pc:grpChg chg="add mod">
          <ac:chgData name="Otavio Augusto Sabia Gava" userId="68ac195b-011b-467c-86d4-321df89323d0" providerId="ADAL" clId="{0C687AD9-2800-41E2-AA69-D02ABC7EDD76}" dt="2023-11-21T02:01:48.847" v="10036"/>
          <ac:grpSpMkLst>
            <pc:docMk/>
            <pc:sldMk cId="491092627" sldId="3028"/>
            <ac:grpSpMk id="86" creationId="{84CB2966-4CA5-0B25-587B-81CB2069B322}"/>
          </ac:grpSpMkLst>
        </pc:grpChg>
        <pc:grpChg chg="add mod">
          <ac:chgData name="Otavio Augusto Sabia Gava" userId="68ac195b-011b-467c-86d4-321df89323d0" providerId="ADAL" clId="{0C687AD9-2800-41E2-AA69-D02ABC7EDD76}" dt="2023-11-21T02:01:48.847" v="10036"/>
          <ac:grpSpMkLst>
            <pc:docMk/>
            <pc:sldMk cId="491092627" sldId="3028"/>
            <ac:grpSpMk id="103" creationId="{35691495-7170-77C5-DACC-AAD8B9760EA5}"/>
          </ac:grpSpMkLst>
        </pc:grpChg>
        <pc:grpChg chg="mod">
          <ac:chgData name="Otavio Augusto Sabia Gava" userId="68ac195b-011b-467c-86d4-321df89323d0" providerId="ADAL" clId="{0C687AD9-2800-41E2-AA69-D02ABC7EDD76}" dt="2023-11-21T02:01:48.847" v="10036"/>
          <ac:grpSpMkLst>
            <pc:docMk/>
            <pc:sldMk cId="491092627" sldId="3028"/>
            <ac:grpSpMk id="105" creationId="{FA77E1EE-DFFD-F83D-FF14-B8BABF837B27}"/>
          </ac:grpSpMkLst>
        </pc:grp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3" creationId="{A643955D-EEBB-3DC2-5690-60444E98C115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4" creationId="{5B69EE8F-047C-7FC5-8C94-6703B11BA6C4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0" creationId="{3BD7D6DA-8A35-44D1-50FB-3BEA18508151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4" creationId="{30C14AF0-2DEA-40A1-F616-7D9B5580C58D}"/>
          </ac:picMkLst>
        </pc:picChg>
        <pc:picChg chg="add mod">
          <ac:chgData name="Otavio Augusto Sabia Gava" userId="68ac195b-011b-467c-86d4-321df89323d0" providerId="ADAL" clId="{0C687AD9-2800-41E2-AA69-D02ABC7EDD76}" dt="2023-11-21T02:02:57.517" v="10057" actId="207"/>
          <ac:picMkLst>
            <pc:docMk/>
            <pc:sldMk cId="491092627" sldId="3028"/>
            <ac:picMk id="18" creationId="{EACE3992-7C12-E2E9-85A7-E782C1D4F912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22" creationId="{DF013EB1-ECF6-B28E-AE55-A3B5316D5E7C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34" creationId="{ED0A6421-C1F3-8EB3-CC5B-8C30100C10F9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35" creationId="{9E46464D-1625-4BAF-8D95-EC8454A8BBEC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36" creationId="{D6619126-445B-E463-028C-E219D0A9F509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41" creationId="{89C925BA-7BBC-50BB-52D4-756F4DE44A21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42" creationId="{54EACB8F-0CF8-1597-5D75-D1B849EF695A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49" creationId="{E2D18E05-3269-276D-83F1-DE9BFAEEDE16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57" creationId="{59709516-FC97-331C-74C0-D2D069868834}"/>
          </ac:picMkLst>
        </pc:picChg>
        <pc:picChg chg="del">
          <ac:chgData name="Otavio Augusto Sabia Gava" userId="68ac195b-011b-467c-86d4-321df89323d0" providerId="ADAL" clId="{0C687AD9-2800-41E2-AA69-D02ABC7EDD76}" dt="2023-11-21T02:01:29.025" v="10034" actId="478"/>
          <ac:picMkLst>
            <pc:docMk/>
            <pc:sldMk cId="491092627" sldId="3028"/>
            <ac:picMk id="59" creationId="{FB8399F3-BE3A-0539-094B-F2B1CC88A369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64" creationId="{53E91D38-3044-2066-015B-CA9D93A33B75}"/>
          </ac:picMkLst>
        </pc:picChg>
        <pc:picChg chg="del">
          <ac:chgData name="Otavio Augusto Sabia Gava" userId="68ac195b-011b-467c-86d4-321df89323d0" providerId="ADAL" clId="{0C687AD9-2800-41E2-AA69-D02ABC7EDD76}" dt="2023-11-21T02:01:27.330" v="10033" actId="478"/>
          <ac:picMkLst>
            <pc:docMk/>
            <pc:sldMk cId="491092627" sldId="3028"/>
            <ac:picMk id="70" creationId="{98446ECB-E0FA-FE1F-1970-496292776FDB}"/>
          </ac:picMkLst>
        </pc:picChg>
        <pc:picChg chg="add mod">
          <ac:chgData name="Otavio Augusto Sabia Gava" userId="68ac195b-011b-467c-86d4-321df89323d0" providerId="ADAL" clId="{0C687AD9-2800-41E2-AA69-D02ABC7EDD76}" dt="2023-11-21T02:02:57.517" v="10057" actId="207"/>
          <ac:picMkLst>
            <pc:docMk/>
            <pc:sldMk cId="491092627" sldId="3028"/>
            <ac:picMk id="75" creationId="{CCDD5771-8C83-14B9-6DED-77C73BD04EF5}"/>
          </ac:picMkLst>
        </pc:picChg>
        <pc:picChg chg="add mod">
          <ac:chgData name="Otavio Augusto Sabia Gava" userId="68ac195b-011b-467c-86d4-321df89323d0" providerId="ADAL" clId="{0C687AD9-2800-41E2-AA69-D02ABC7EDD76}" dt="2023-11-21T02:02:42.275" v="10054" actId="207"/>
          <ac:picMkLst>
            <pc:docMk/>
            <pc:sldMk cId="491092627" sldId="3028"/>
            <ac:picMk id="81" creationId="{7BD2993B-C852-BD59-4446-883D6C68C6A9}"/>
          </ac:picMkLst>
        </pc:picChg>
        <pc:picChg chg="add mod">
          <ac:chgData name="Otavio Augusto Sabia Gava" userId="68ac195b-011b-467c-86d4-321df89323d0" providerId="ADAL" clId="{0C687AD9-2800-41E2-AA69-D02ABC7EDD76}" dt="2023-11-21T02:02:42.275" v="10054" actId="207"/>
          <ac:picMkLst>
            <pc:docMk/>
            <pc:sldMk cId="491092627" sldId="3028"/>
            <ac:picMk id="82" creationId="{65883C1E-0BDE-FFEF-D64D-AFED1213F3D1}"/>
          </ac:picMkLst>
        </pc:picChg>
        <pc:picChg chg="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88" creationId="{99845D76-D7A8-9A37-838F-DCEB48D403FA}"/>
          </ac:picMkLst>
        </pc:picChg>
        <pc:picChg chg="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89" creationId="{748BAD33-F1FF-EA2B-7C23-80A6EB4FCA55}"/>
          </ac:picMkLst>
        </pc:picChg>
        <pc:picChg chg="mod">
          <ac:chgData name="Otavio Augusto Sabia Gava" userId="68ac195b-011b-467c-86d4-321df89323d0" providerId="ADAL" clId="{0C687AD9-2800-41E2-AA69-D02ABC7EDD76}" dt="2023-11-28T19:46:18.177" v="21751"/>
          <ac:picMkLst>
            <pc:docMk/>
            <pc:sldMk cId="491092627" sldId="3028"/>
            <ac:picMk id="90" creationId="{A307619D-7E7E-9AF2-AC93-1D1D7315D7E7}"/>
          </ac:picMkLst>
        </pc:picChg>
        <pc:picChg chg="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91" creationId="{4D115B77-2ECD-2ABD-23C9-1DF58EAF8D54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95" creationId="{929E016B-6496-8957-5A28-AAB5CAA6B8A1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00" creationId="{1DE23B89-EBA4-5E3F-E125-28E1E3DCDA56}"/>
          </ac:picMkLst>
        </pc:picChg>
        <pc:picChg chg="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04" creationId="{59160D9A-F5F3-B87E-9AAC-EC5CD10BA67C}"/>
          </ac:picMkLst>
        </pc:picChg>
        <pc:picChg chg="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07" creationId="{E867C8A9-75B5-0BE1-B3E0-BFA614142B3F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08" creationId="{2F49F2A0-2EDF-8D1F-0EE7-83254F558832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10" creationId="{A8E6D397-8E76-1D2F-7F40-44BE5664EA06}"/>
          </ac:picMkLst>
        </pc:picChg>
        <pc:picChg chg="add mod">
          <ac:chgData name="Otavio Augusto Sabia Gava" userId="68ac195b-011b-467c-86d4-321df89323d0" providerId="ADAL" clId="{0C687AD9-2800-41E2-AA69-D02ABC7EDD76}" dt="2023-11-21T02:02:42.275" v="10054" actId="207"/>
          <ac:picMkLst>
            <pc:docMk/>
            <pc:sldMk cId="491092627" sldId="3028"/>
            <ac:picMk id="112" creationId="{0E9B4EC5-8F13-6428-B714-EB38C86F1D37}"/>
          </ac:picMkLst>
        </pc:picChg>
        <pc:picChg chg="add mod">
          <ac:chgData name="Otavio Augusto Sabia Gava" userId="68ac195b-011b-467c-86d4-321df89323d0" providerId="ADAL" clId="{0C687AD9-2800-41E2-AA69-D02ABC7EDD76}" dt="2023-11-21T02:01:48.847" v="10036"/>
          <ac:picMkLst>
            <pc:docMk/>
            <pc:sldMk cId="491092627" sldId="3028"/>
            <ac:picMk id="115" creationId="{B2F49B76-DE93-2722-E776-AD0B4111190A}"/>
          </ac:picMkLst>
        </pc:pic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8" creationId="{FE7A64DE-8BD3-47A7-176C-1E77CF23B5F2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2" creationId="{D837ABC8-1A1E-3799-554D-29B4C70F3EBD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6" creationId="{1978C4B3-B80E-113E-F916-96E1D8119CCB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7" creationId="{5599892C-4745-7E98-63FB-EC45795D9375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21" creationId="{14EDB138-AF0D-005C-F878-BD41547C399B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26" creationId="{67DEEEE0-D83F-2BC3-2BFC-024FB63A33AF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27" creationId="{8CE59C13-5130-13F8-0E26-7452A2444F5C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29" creationId="{8ED6EF8B-1E16-10A8-B373-B21166755833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31" creationId="{A440378D-F2D2-69A8-7B62-7EBE2E80362C}"/>
          </ac:cxnSpMkLst>
        </pc:cxnChg>
        <pc:cxnChg chg="del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37" creationId="{6AC1C71E-DC6B-2685-81CD-C00259E4CEA3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39" creationId="{309646FC-0B5A-2C69-9971-D6BCD54300BE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43" creationId="{7DB5CAD2-FE2D-0535-354A-C36A9D37EC2A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44" creationId="{1AA6F98A-2BEA-B6BC-A49D-2CC0738543C7}"/>
          </ac:cxnSpMkLst>
        </pc:cxnChg>
        <pc:cxnChg chg="del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46" creationId="{4CBF3436-1C9C-746B-1DD9-C2B888FD9449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47" creationId="{66244ED4-A691-8F1B-F3D8-1C9BDFEBB322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48" creationId="{4ACABEF3-2AF1-8708-A9D1-C50CF240C415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50" creationId="{FC4C0829-0F26-47FF-8C0A-B0D2747C817C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52" creationId="{3A5A12C4-C37A-4E2E-59AA-A2AA9D4C4481}"/>
          </ac:cxnSpMkLst>
        </pc:cxnChg>
        <pc:cxnChg chg="del mod">
          <ac:chgData name="Otavio Augusto Sabia Gava" userId="68ac195b-011b-467c-86d4-321df89323d0" providerId="ADAL" clId="{0C687AD9-2800-41E2-AA69-D02ABC7EDD76}" dt="2023-11-21T02:01:29.025" v="10034" actId="478"/>
          <ac:cxnSpMkLst>
            <pc:docMk/>
            <pc:sldMk cId="491092627" sldId="3028"/>
            <ac:cxnSpMk id="53" creationId="{656A0930-3AAA-A0F7-438F-4F51E72DF7B4}"/>
          </ac:cxnSpMkLst>
        </pc:cxnChg>
        <pc:cxnChg chg="del mod">
          <ac:chgData name="Otavio Augusto Sabia Gava" userId="68ac195b-011b-467c-86d4-321df89323d0" providerId="ADAL" clId="{0C687AD9-2800-41E2-AA69-D02ABC7EDD76}" dt="2023-11-21T02:01:29.025" v="10034" actId="478"/>
          <ac:cxnSpMkLst>
            <pc:docMk/>
            <pc:sldMk cId="491092627" sldId="3028"/>
            <ac:cxnSpMk id="55" creationId="{22BC17CD-0D60-07DD-9E88-0DE481CC5A0B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58" creationId="{1B115969-F521-BD4C-6436-5D2E8902399A}"/>
          </ac:cxnSpMkLst>
        </pc:cxnChg>
        <pc:cxnChg chg="del mod">
          <ac:chgData name="Otavio Augusto Sabia Gava" userId="68ac195b-011b-467c-86d4-321df89323d0" providerId="ADAL" clId="{0C687AD9-2800-41E2-AA69-D02ABC7EDD76}" dt="2023-11-21T02:01:29.025" v="10034" actId="478"/>
          <ac:cxnSpMkLst>
            <pc:docMk/>
            <pc:sldMk cId="491092627" sldId="3028"/>
            <ac:cxnSpMk id="60" creationId="{E9C9A890-31C9-D7C3-1725-9F7E0BEA8990}"/>
          </ac:cxnSpMkLst>
        </pc:cxnChg>
        <pc:cxnChg chg="del mod">
          <ac:chgData name="Otavio Augusto Sabia Gava" userId="68ac195b-011b-467c-86d4-321df89323d0" providerId="ADAL" clId="{0C687AD9-2800-41E2-AA69-D02ABC7EDD76}" dt="2023-11-21T02:01:29.025" v="10034" actId="478"/>
          <ac:cxnSpMkLst>
            <pc:docMk/>
            <pc:sldMk cId="491092627" sldId="3028"/>
            <ac:cxnSpMk id="61" creationId="{B3C693B2-79B8-09B4-DBDC-A8F0003A5EE9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63" creationId="{482A9C29-C737-C264-9A4C-707E6D02B5E8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68" creationId="{448AE258-75A4-A497-EF62-EB2E4D2755E5}"/>
          </ac:cxnSpMkLst>
        </pc:cxnChg>
        <pc:cxnChg chg="del mod">
          <ac:chgData name="Otavio Augusto Sabia Gava" userId="68ac195b-011b-467c-86d4-321df89323d0" providerId="ADAL" clId="{0C687AD9-2800-41E2-AA69-D02ABC7EDD76}" dt="2023-11-21T02:01:27.330" v="10033" actId="478"/>
          <ac:cxnSpMkLst>
            <pc:docMk/>
            <pc:sldMk cId="491092627" sldId="3028"/>
            <ac:cxnSpMk id="69" creationId="{D468B46E-E699-A323-B2C2-98DDFD1A2195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71" creationId="{92454B17-2696-0BBA-98B0-5C28B453C08A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72" creationId="{1A80D432-0DCD-8135-BE4E-BA2550AF66A3}"/>
          </ac:cxnSpMkLst>
        </pc:cxnChg>
        <pc:cxnChg chg="add mod">
          <ac:chgData name="Otavio Augusto Sabia Gava" userId="68ac195b-011b-467c-86d4-321df89323d0" providerId="ADAL" clId="{0C687AD9-2800-41E2-AA69-D02ABC7EDD76}" dt="2023-11-21T02:05:23.895" v="10115" actId="14100"/>
          <ac:cxnSpMkLst>
            <pc:docMk/>
            <pc:sldMk cId="491092627" sldId="3028"/>
            <ac:cxnSpMk id="78" creationId="{03E5BCB9-192C-E4F2-DC02-210E2A85FE5B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93" creationId="{F78D347C-4199-068E-3E0F-C4B2FC92292B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02" creationId="{0AEFACE9-380D-1E8C-7723-753C8B067998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11" creationId="{59E404A2-30B4-34EE-1C04-6BA87E55063B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13" creationId="{494A2B12-4019-0911-0155-00FB122FA1EA}"/>
          </ac:cxnSpMkLst>
        </pc:cxnChg>
        <pc:cxnChg chg="add mod">
          <ac:chgData name="Otavio Augusto Sabia Gava" userId="68ac195b-011b-467c-86d4-321df89323d0" providerId="ADAL" clId="{0C687AD9-2800-41E2-AA69-D02ABC7EDD76}" dt="2023-11-21T02:01:48.847" v="10036"/>
          <ac:cxnSpMkLst>
            <pc:docMk/>
            <pc:sldMk cId="491092627" sldId="3028"/>
            <ac:cxnSpMk id="116" creationId="{04910609-C3BC-AF0F-4609-D9FE8C5925C1}"/>
          </ac:cxnSpMkLst>
        </pc:cxnChg>
      </pc:sldChg>
      <pc:sldChg chg="addSp delSp modSp add del mod ord">
        <pc:chgData name="Otavio Augusto Sabia Gava" userId="68ac195b-011b-467c-86d4-321df89323d0" providerId="ADAL" clId="{0C687AD9-2800-41E2-AA69-D02ABC7EDD76}" dt="2023-11-29T18:36:35.792" v="28771" actId="47"/>
        <pc:sldMkLst>
          <pc:docMk/>
          <pc:sldMk cId="1189923324" sldId="3029"/>
        </pc:sldMkLst>
        <pc:spChg chg="mod">
          <ac:chgData name="Otavio Augusto Sabia Gava" userId="68ac195b-011b-467c-86d4-321df89323d0" providerId="ADAL" clId="{0C687AD9-2800-41E2-AA69-D02ABC7EDD76}" dt="2023-11-27T12:03:38.109" v="17145" actId="20577"/>
          <ac:spMkLst>
            <pc:docMk/>
            <pc:sldMk cId="1189923324" sldId="3029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1T17:37:31.422" v="15430" actId="20577"/>
          <ac:spMkLst>
            <pc:docMk/>
            <pc:sldMk cId="1189923324" sldId="3029"/>
            <ac:spMk id="16" creationId="{5054D865-64A9-5590-A391-96C8557BB5FF}"/>
          </ac:spMkLst>
        </pc:spChg>
        <pc:spChg chg="mod">
          <ac:chgData name="Otavio Augusto Sabia Gava" userId="68ac195b-011b-467c-86d4-321df89323d0" providerId="ADAL" clId="{0C687AD9-2800-41E2-AA69-D02ABC7EDD76}" dt="2023-11-21T17:36:43.076" v="15370" actId="113"/>
          <ac:spMkLst>
            <pc:docMk/>
            <pc:sldMk cId="1189923324" sldId="3029"/>
            <ac:spMk id="17" creationId="{A3E412C1-241A-D9C6-3CD5-7F5AECA30CAE}"/>
          </ac:spMkLst>
        </pc:spChg>
        <pc:spChg chg="mod">
          <ac:chgData name="Otavio Augusto Sabia Gava" userId="68ac195b-011b-467c-86d4-321df89323d0" providerId="ADAL" clId="{0C687AD9-2800-41E2-AA69-D02ABC7EDD76}" dt="2023-11-21T17:40:04.919" v="15554" actId="20577"/>
          <ac:spMkLst>
            <pc:docMk/>
            <pc:sldMk cId="1189923324" sldId="3029"/>
            <ac:spMk id="18" creationId="{1ADA1330-071F-04C5-198C-0F7D46D802D1}"/>
          </ac:spMkLst>
        </pc:spChg>
        <pc:spChg chg="mod">
          <ac:chgData name="Otavio Augusto Sabia Gava" userId="68ac195b-011b-467c-86d4-321df89323d0" providerId="ADAL" clId="{0C687AD9-2800-41E2-AA69-D02ABC7EDD76}" dt="2023-11-21T17:41:50.715" v="15609" actId="113"/>
          <ac:spMkLst>
            <pc:docMk/>
            <pc:sldMk cId="1189923324" sldId="3029"/>
            <ac:spMk id="19" creationId="{72C8E966-B429-3310-6172-B48B5DDB5C2E}"/>
          </ac:spMkLst>
        </pc:spChg>
        <pc:spChg chg="mod">
          <ac:chgData name="Otavio Augusto Sabia Gava" userId="68ac195b-011b-467c-86d4-321df89323d0" providerId="ADAL" clId="{0C687AD9-2800-41E2-AA69-D02ABC7EDD76}" dt="2023-11-28T18:17:33.255" v="19916" actId="13926"/>
          <ac:spMkLst>
            <pc:docMk/>
            <pc:sldMk cId="1189923324" sldId="3029"/>
            <ac:spMk id="21" creationId="{3731A43B-B979-1D61-F8AC-FF10B4F30A39}"/>
          </ac:spMkLst>
        </pc:spChg>
        <pc:spChg chg="mod">
          <ac:chgData name="Otavio Augusto Sabia Gava" userId="68ac195b-011b-467c-86d4-321df89323d0" providerId="ADAL" clId="{0C687AD9-2800-41E2-AA69-D02ABC7EDD76}" dt="2023-11-21T18:24:09.446" v="16756" actId="313"/>
          <ac:spMkLst>
            <pc:docMk/>
            <pc:sldMk cId="1189923324" sldId="3029"/>
            <ac:spMk id="32" creationId="{8AC3EF9D-5D22-8EF4-F021-D03C46654570}"/>
          </ac:spMkLst>
        </pc:spChg>
        <pc:spChg chg="mod">
          <ac:chgData name="Otavio Augusto Sabia Gava" userId="68ac195b-011b-467c-86d4-321df89323d0" providerId="ADAL" clId="{0C687AD9-2800-41E2-AA69-D02ABC7EDD76}" dt="2023-11-21T11:49:09.241" v="13064" actId="113"/>
          <ac:spMkLst>
            <pc:docMk/>
            <pc:sldMk cId="1189923324" sldId="3029"/>
            <ac:spMk id="33" creationId="{84F2FCC9-34B4-4DF9-3618-E1E6CA399800}"/>
          </ac:spMkLst>
        </pc:spChg>
        <pc:spChg chg="mod">
          <ac:chgData name="Otavio Augusto Sabia Gava" userId="68ac195b-011b-467c-86d4-321df89323d0" providerId="ADAL" clId="{0C687AD9-2800-41E2-AA69-D02ABC7EDD76}" dt="2023-11-21T11:51:47.197" v="13524" actId="113"/>
          <ac:spMkLst>
            <pc:docMk/>
            <pc:sldMk cId="1189923324" sldId="3029"/>
            <ac:spMk id="34" creationId="{888E0732-CA1D-0B6A-5A87-F5D77BD6E7C1}"/>
          </ac:spMkLst>
        </pc:spChg>
        <pc:spChg chg="mod">
          <ac:chgData name="Otavio Augusto Sabia Gava" userId="68ac195b-011b-467c-86d4-321df89323d0" providerId="ADAL" clId="{0C687AD9-2800-41E2-AA69-D02ABC7EDD76}" dt="2023-11-21T11:50:54.239" v="13394" actId="20577"/>
          <ac:spMkLst>
            <pc:docMk/>
            <pc:sldMk cId="1189923324" sldId="3029"/>
            <ac:spMk id="35" creationId="{DE2A735B-3016-B5A5-4E3D-4CF16AC331C3}"/>
          </ac:spMkLst>
        </pc:spChg>
        <pc:picChg chg="mod">
          <ac:chgData name="Otavio Augusto Sabia Gava" userId="68ac195b-011b-467c-86d4-321df89323d0" providerId="ADAL" clId="{0C687AD9-2800-41E2-AA69-D02ABC7EDD76}" dt="2023-11-21T18:01:58.457" v="16188"/>
          <ac:picMkLst>
            <pc:docMk/>
            <pc:sldMk cId="1189923324" sldId="3029"/>
            <ac:picMk id="36" creationId="{A4C3C829-9152-AEC0-6B21-572A37CC04B4}"/>
          </ac:picMkLst>
        </pc:picChg>
        <pc:picChg chg="mod">
          <ac:chgData name="Otavio Augusto Sabia Gava" userId="68ac195b-011b-467c-86d4-321df89323d0" providerId="ADAL" clId="{0C687AD9-2800-41E2-AA69-D02ABC7EDD76}" dt="2023-11-21T18:06:50.483" v="16241"/>
          <ac:picMkLst>
            <pc:docMk/>
            <pc:sldMk cId="1189923324" sldId="3029"/>
            <ac:picMk id="37" creationId="{95402AD2-37E2-3CCC-2B9A-65ADB5BA3229}"/>
          </ac:picMkLst>
        </pc:picChg>
        <pc:picChg chg="del">
          <ac:chgData name="Otavio Augusto Sabia Gava" userId="68ac195b-011b-467c-86d4-321df89323d0" providerId="ADAL" clId="{0C687AD9-2800-41E2-AA69-D02ABC7EDD76}" dt="2023-11-21T02:20:10.138" v="10610" actId="478"/>
          <ac:picMkLst>
            <pc:docMk/>
            <pc:sldMk cId="1189923324" sldId="3029"/>
            <ac:picMk id="20484" creationId="{FA684466-1A89-A856-281A-732F350B2753}"/>
          </ac:picMkLst>
        </pc:picChg>
        <pc:picChg chg="add del">
          <ac:chgData name="Otavio Augusto Sabia Gava" userId="68ac195b-011b-467c-86d4-321df89323d0" providerId="ADAL" clId="{0C687AD9-2800-41E2-AA69-D02ABC7EDD76}" dt="2023-11-21T02:17:46.600" v="10506" actId="478"/>
          <ac:picMkLst>
            <pc:docMk/>
            <pc:sldMk cId="1189923324" sldId="3029"/>
            <ac:picMk id="20486" creationId="{76B6CE10-E42B-0CC5-47BC-16E959E69E09}"/>
          </ac:picMkLst>
        </pc:picChg>
        <pc:picChg chg="add mod">
          <ac:chgData name="Otavio Augusto Sabia Gava" userId="68ac195b-011b-467c-86d4-321df89323d0" providerId="ADAL" clId="{0C687AD9-2800-41E2-AA69-D02ABC7EDD76}" dt="2023-11-21T02:17:56.078" v="10511" actId="1076"/>
          <ac:picMkLst>
            <pc:docMk/>
            <pc:sldMk cId="1189923324" sldId="3029"/>
            <ac:picMk id="29698" creationId="{6E1E62D5-33D9-64C6-0D4F-8DD5007044CC}"/>
          </ac:picMkLst>
        </pc:picChg>
        <pc:picChg chg="add mod">
          <ac:chgData name="Otavio Augusto Sabia Gava" userId="68ac195b-011b-467c-86d4-321df89323d0" providerId="ADAL" clId="{0C687AD9-2800-41E2-AA69-D02ABC7EDD76}" dt="2023-11-21T02:20:53.595" v="10616" actId="1076"/>
          <ac:picMkLst>
            <pc:docMk/>
            <pc:sldMk cId="1189923324" sldId="3029"/>
            <ac:picMk id="29700" creationId="{72DAD4D2-08E9-C9DD-49FF-C747D8056A3E}"/>
          </ac:picMkLst>
        </pc:picChg>
      </pc:sldChg>
      <pc:sldChg chg="addSp delSp modSp add del mod ord">
        <pc:chgData name="Otavio Augusto Sabia Gava" userId="68ac195b-011b-467c-86d4-321df89323d0" providerId="ADAL" clId="{0C687AD9-2800-41E2-AA69-D02ABC7EDD76}" dt="2023-11-29T18:36:31.200" v="28768" actId="47"/>
        <pc:sldMkLst>
          <pc:docMk/>
          <pc:sldMk cId="2903195389" sldId="3030"/>
        </pc:sldMkLst>
        <pc:spChg chg="mod">
          <ac:chgData name="Otavio Augusto Sabia Gava" userId="68ac195b-011b-467c-86d4-321df89323d0" providerId="ADAL" clId="{0C687AD9-2800-41E2-AA69-D02ABC7EDD76}" dt="2023-11-21T15:09:50.354" v="13570" actId="20577"/>
          <ac:spMkLst>
            <pc:docMk/>
            <pc:sldMk cId="2903195389" sldId="3030"/>
            <ac:spMk id="37" creationId="{72C8E118-A821-83CE-B0E6-F441703E2BC8}"/>
          </ac:spMkLst>
        </pc:spChg>
        <pc:spChg chg="mod">
          <ac:chgData name="Otavio Augusto Sabia Gava" userId="68ac195b-011b-467c-86d4-321df89323d0" providerId="ADAL" clId="{0C687AD9-2800-41E2-AA69-D02ABC7EDD76}" dt="2023-11-21T17:02:19.044" v="14364" actId="5793"/>
          <ac:spMkLst>
            <pc:docMk/>
            <pc:sldMk cId="2903195389" sldId="3030"/>
            <ac:spMk id="38" creationId="{FAB55431-9773-30D3-6CC7-B145C4A6656C}"/>
          </ac:spMkLst>
        </pc:spChg>
        <pc:spChg chg="mod">
          <ac:chgData name="Otavio Augusto Sabia Gava" userId="68ac195b-011b-467c-86d4-321df89323d0" providerId="ADAL" clId="{0C687AD9-2800-41E2-AA69-D02ABC7EDD76}" dt="2023-11-21T15:15:42.571" v="14092" actId="313"/>
          <ac:spMkLst>
            <pc:docMk/>
            <pc:sldMk cId="2903195389" sldId="3030"/>
            <ac:spMk id="39" creationId="{D43FF608-ADB7-C07C-1BBF-5D3FA59B20E6}"/>
          </ac:spMkLst>
        </pc:spChg>
        <pc:spChg chg="mod">
          <ac:chgData name="Otavio Augusto Sabia Gava" userId="68ac195b-011b-467c-86d4-321df89323d0" providerId="ADAL" clId="{0C687AD9-2800-41E2-AA69-D02ABC7EDD76}" dt="2023-11-21T15:13:52.395" v="13911" actId="20577"/>
          <ac:spMkLst>
            <pc:docMk/>
            <pc:sldMk cId="2903195389" sldId="3030"/>
            <ac:spMk id="40" creationId="{96FAA112-7E95-6315-FEA3-C06482F1D090}"/>
          </ac:spMkLst>
        </pc:spChg>
        <pc:spChg chg="mod">
          <ac:chgData name="Otavio Augusto Sabia Gava" userId="68ac195b-011b-467c-86d4-321df89323d0" providerId="ADAL" clId="{0C687AD9-2800-41E2-AA69-D02ABC7EDD76}" dt="2023-11-28T18:06:24.293" v="19857" actId="13926"/>
          <ac:spMkLst>
            <pc:docMk/>
            <pc:sldMk cId="2903195389" sldId="3030"/>
            <ac:spMk id="42" creationId="{3C7EB66B-E713-35D9-666A-904EA8D28BB6}"/>
          </ac:spMkLst>
        </pc:spChg>
        <pc:spChg chg="mod">
          <ac:chgData name="Otavio Augusto Sabia Gava" userId="68ac195b-011b-467c-86d4-321df89323d0" providerId="ADAL" clId="{0C687AD9-2800-41E2-AA69-D02ABC7EDD76}" dt="2023-11-21T16:42:12.064" v="14269" actId="1036"/>
          <ac:spMkLst>
            <pc:docMk/>
            <pc:sldMk cId="2903195389" sldId="3030"/>
            <ac:spMk id="49" creationId="{9201518C-D283-D1F7-C225-63C8DE5E6956}"/>
          </ac:spMkLst>
        </pc:spChg>
        <pc:spChg chg="mod">
          <ac:chgData name="Otavio Augusto Sabia Gava" userId="68ac195b-011b-467c-86d4-321df89323d0" providerId="ADAL" clId="{0C687AD9-2800-41E2-AA69-D02ABC7EDD76}" dt="2023-11-21T16:41:46.410" v="14241" actId="14100"/>
          <ac:spMkLst>
            <pc:docMk/>
            <pc:sldMk cId="2903195389" sldId="3030"/>
            <ac:spMk id="50" creationId="{670CBB8B-E627-B3E9-C740-DFB777A08892}"/>
          </ac:spMkLst>
        </pc:spChg>
        <pc:spChg chg="mod">
          <ac:chgData name="Otavio Augusto Sabia Gava" userId="68ac195b-011b-467c-86d4-321df89323d0" providerId="ADAL" clId="{0C687AD9-2800-41E2-AA69-D02ABC7EDD76}" dt="2023-11-21T16:59:59.631" v="14334" actId="1035"/>
          <ac:spMkLst>
            <pc:docMk/>
            <pc:sldMk cId="2903195389" sldId="3030"/>
            <ac:spMk id="55" creationId="{FE77F5A9-9A5C-CEDC-9B48-CFBEDAB660CD}"/>
          </ac:spMkLst>
        </pc:spChg>
        <pc:spChg chg="mod">
          <ac:chgData name="Otavio Augusto Sabia Gava" userId="68ac195b-011b-467c-86d4-321df89323d0" providerId="ADAL" clId="{0C687AD9-2800-41E2-AA69-D02ABC7EDD76}" dt="2023-11-21T17:04:22.550" v="14399" actId="113"/>
          <ac:spMkLst>
            <pc:docMk/>
            <pc:sldMk cId="2903195389" sldId="3030"/>
            <ac:spMk id="62" creationId="{2CF2DFE6-6A33-446A-5924-4D68A81BE3CE}"/>
          </ac:spMkLst>
        </pc:spChg>
        <pc:spChg chg="mod">
          <ac:chgData name="Otavio Augusto Sabia Gava" userId="68ac195b-011b-467c-86d4-321df89323d0" providerId="ADAL" clId="{0C687AD9-2800-41E2-AA69-D02ABC7EDD76}" dt="2023-11-21T17:04:49.211" v="14406" actId="113"/>
          <ac:spMkLst>
            <pc:docMk/>
            <pc:sldMk cId="2903195389" sldId="3030"/>
            <ac:spMk id="72" creationId="{73E5245F-1FFC-F7A7-649D-E50C7E5B737F}"/>
          </ac:spMkLst>
        </pc:spChg>
        <pc:spChg chg="mod">
          <ac:chgData name="Otavio Augusto Sabia Gava" userId="68ac195b-011b-467c-86d4-321df89323d0" providerId="ADAL" clId="{0C687AD9-2800-41E2-AA69-D02ABC7EDD76}" dt="2023-11-21T17:07:10.095" v="14676" actId="113"/>
          <ac:spMkLst>
            <pc:docMk/>
            <pc:sldMk cId="2903195389" sldId="3030"/>
            <ac:spMk id="73" creationId="{96869582-FC52-1CB0-9FD1-06B1210DD84E}"/>
          </ac:spMkLst>
        </pc:spChg>
        <pc:picChg chg="add mod">
          <ac:chgData name="Otavio Augusto Sabia Gava" userId="68ac195b-011b-467c-86d4-321df89323d0" providerId="ADAL" clId="{0C687AD9-2800-41E2-AA69-D02ABC7EDD76}" dt="2023-11-21T16:39:35.015" v="14214"/>
          <ac:picMkLst>
            <pc:docMk/>
            <pc:sldMk cId="2903195389" sldId="3030"/>
            <ac:picMk id="2" creationId="{878D0046-FC07-AC3C-8EE7-C0EDDFFD8A53}"/>
          </ac:picMkLst>
        </pc:picChg>
        <pc:picChg chg="add del mod">
          <ac:chgData name="Otavio Augusto Sabia Gava" userId="68ac195b-011b-467c-86d4-321df89323d0" providerId="ADAL" clId="{0C687AD9-2800-41E2-AA69-D02ABC7EDD76}" dt="2023-11-21T17:08:13.966" v="14678" actId="478"/>
          <ac:picMkLst>
            <pc:docMk/>
            <pc:sldMk cId="2903195389" sldId="3030"/>
            <ac:picMk id="3" creationId="{53DE6DDC-29CD-C667-F8C4-87ADE0EC773F}"/>
          </ac:picMkLst>
        </pc:picChg>
        <pc:picChg chg="del">
          <ac:chgData name="Otavio Augusto Sabia Gava" userId="68ac195b-011b-467c-86d4-321df89323d0" providerId="ADAL" clId="{0C687AD9-2800-41E2-AA69-D02ABC7EDD76}" dt="2023-11-21T15:09:35.405" v="13538" actId="478"/>
          <ac:picMkLst>
            <pc:docMk/>
            <pc:sldMk cId="2903195389" sldId="3030"/>
            <ac:picMk id="16388" creationId="{DF8FC1BB-A300-5E42-688E-1780C54BFE40}"/>
          </ac:picMkLst>
        </pc:picChg>
        <pc:picChg chg="del">
          <ac:chgData name="Otavio Augusto Sabia Gava" userId="68ac195b-011b-467c-86d4-321df89323d0" providerId="ADAL" clId="{0C687AD9-2800-41E2-AA69-D02ABC7EDD76}" dt="2023-11-21T15:09:27.041" v="13532" actId="478"/>
          <ac:picMkLst>
            <pc:docMk/>
            <pc:sldMk cId="2903195389" sldId="3030"/>
            <ac:picMk id="16390" creationId="{B9861BFE-6E7D-C020-FCD4-A8B62B299DF6}"/>
          </ac:picMkLst>
        </pc:picChg>
        <pc:picChg chg="add mod">
          <ac:chgData name="Otavio Augusto Sabia Gava" userId="68ac195b-011b-467c-86d4-321df89323d0" providerId="ADAL" clId="{0C687AD9-2800-41E2-AA69-D02ABC7EDD76}" dt="2023-11-21T15:09:34.019" v="13537" actId="1076"/>
          <ac:picMkLst>
            <pc:docMk/>
            <pc:sldMk cId="2903195389" sldId="3030"/>
            <ac:picMk id="30722" creationId="{0E0A7B2E-85D3-062E-20C6-FCFD9E5B93C0}"/>
          </ac:picMkLst>
        </pc:picChg>
        <pc:picChg chg="add mod">
          <ac:chgData name="Otavio Augusto Sabia Gava" userId="68ac195b-011b-467c-86d4-321df89323d0" providerId="ADAL" clId="{0C687AD9-2800-41E2-AA69-D02ABC7EDD76}" dt="2023-11-25T20:23:39.529" v="16993" actId="1036"/>
          <ac:picMkLst>
            <pc:docMk/>
            <pc:sldMk cId="2903195389" sldId="3030"/>
            <ac:picMk id="30724" creationId="{53F3DB8E-CBDD-285F-E0D8-7729E333990C}"/>
          </ac:picMkLst>
        </pc:picChg>
        <pc:picChg chg="add del">
          <ac:chgData name="Otavio Augusto Sabia Gava" userId="68ac195b-011b-467c-86d4-321df89323d0" providerId="ADAL" clId="{0C687AD9-2800-41E2-AA69-D02ABC7EDD76}" dt="2023-11-21T17:00:12.849" v="14336"/>
          <ac:picMkLst>
            <pc:docMk/>
            <pc:sldMk cId="2903195389" sldId="3030"/>
            <ac:picMk id="30726" creationId="{D8A4F13B-4CC4-D52B-E903-C0850708FA61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29T17:09:20.281" v="27393" actId="2696"/>
        <pc:sldMkLst>
          <pc:docMk/>
          <pc:sldMk cId="2790944942" sldId="3031"/>
        </pc:sldMkLst>
        <pc:spChg chg="add mod">
          <ac:chgData name="Otavio Augusto Sabia Gava" userId="68ac195b-011b-467c-86d4-321df89323d0" providerId="ADAL" clId="{0C687AD9-2800-41E2-AA69-D02ABC7EDD76}" dt="2023-11-27T17:34:26.675" v="19124" actId="113"/>
          <ac:spMkLst>
            <pc:docMk/>
            <pc:sldMk cId="2790944942" sldId="3031"/>
            <ac:spMk id="2" creationId="{E49F98B2-A12B-7F06-A60B-4B4FE787BB64}"/>
          </ac:spMkLst>
        </pc:spChg>
        <pc:spChg chg="mod">
          <ac:chgData name="Otavio Augusto Sabia Gava" userId="68ac195b-011b-467c-86d4-321df89323d0" providerId="ADAL" clId="{0C687AD9-2800-41E2-AA69-D02ABC7EDD76}" dt="2023-11-21T15:16:05.534" v="14117" actId="20577"/>
          <ac:spMkLst>
            <pc:docMk/>
            <pc:sldMk cId="2790944942" sldId="3031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6" creationId="{257B1FCF-1141-8D70-56B0-AEA668AA387F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9" creationId="{6ADF5DB7-009B-E6BF-684F-DDD62F73A760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1" creationId="{706661BE-263C-F378-5B98-3A96C8E7CA17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13" creationId="{8D6AD48D-8C2E-BFF3-A491-969542AFA54B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5" creationId="{87026CA5-7E91-17EB-705D-84ECDB1F475F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19" creationId="{D2D1DDA1-12C0-E91E-578D-FA137E6AD2A5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20" creationId="{664F2241-DC77-02CD-22E4-5963C38E5256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23" creationId="{70C3BFA9-5F45-2E91-921E-ABD489139FD2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25" creationId="{74617DEB-2454-8093-DE93-E36D40CD6B4F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26" creationId="{82D76FA3-52B4-FB96-5D07-A8E76419859D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28" creationId="{3B7F7A0D-C3C8-419A-A84E-40023AA45A11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30" creationId="{88A04D4C-D7C5-4466-F0CE-D6ECEA217987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32" creationId="{FB17FB34-B77F-094F-2049-0034304D5A0F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33" creationId="{2AA8473F-0832-E7FE-0848-18F8CA49F49C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36" creationId="{96BE948F-44E7-53ED-8100-386F1FF6EDEE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38" creationId="{E6818897-D123-CB38-09E6-FCC4868A1B4C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39" creationId="{98DFBA65-65EF-FC67-176E-B31D151C0DDC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0" creationId="{217C2AAA-8B0E-F3FC-3EF3-866096938769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2" creationId="{0AA3F006-6C59-917F-9DE0-98B273104510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3" creationId="{CEE1CA80-00B9-09CA-EEE1-639139E83FAF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4" creationId="{6F8AC2F7-07F6-F3E6-096E-1321ED6C217C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6" creationId="{35B08806-B270-7569-B9F5-28418F87F407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7" creationId="{1BFA2F20-4F3B-1FEE-8B7A-62622D68F667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48" creationId="{420057A0-28A2-22A6-5B21-3DBBC10F8892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0" creationId="{01186FCA-29CE-ED6A-DDF7-B4C5E1DB7730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1" creationId="{F7403B39-B0E6-81E9-1984-C7E5DDDCB633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2" creationId="{4F75A21F-679A-4AF9-E656-E22717740D8A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4" creationId="{63B0FBBD-641E-EA08-E540-0C4B4B61C29D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5" creationId="{9C14E073-BF98-AD25-C0AE-21BBDEB63E78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6" creationId="{242B3EBD-FD8C-52BB-A4D7-9EAED69F20CB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8" creationId="{47D0D3E8-71DC-26E6-7C55-73C80B69953F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59" creationId="{D3CA2951-208D-F47E-D40C-749DC3409502}"/>
          </ac:spMkLst>
        </pc:spChg>
        <pc:spChg chg="mod">
          <ac:chgData name="Otavio Augusto Sabia Gava" userId="68ac195b-011b-467c-86d4-321df89323d0" providerId="ADAL" clId="{0C687AD9-2800-41E2-AA69-D02ABC7EDD76}" dt="2023-11-21T16:35:08.557" v="14120"/>
          <ac:spMkLst>
            <pc:docMk/>
            <pc:sldMk cId="2790944942" sldId="3031"/>
            <ac:spMk id="60" creationId="{ADD29386-0656-EE3F-4C57-715F9605E8AD}"/>
          </ac:spMkLst>
        </pc:spChg>
        <pc:spChg chg="add mod">
          <ac:chgData name="Otavio Augusto Sabia Gava" userId="68ac195b-011b-467c-86d4-321df89323d0" providerId="ADAL" clId="{0C687AD9-2800-41E2-AA69-D02ABC7EDD76}" dt="2023-11-27T17:34:22.264" v="19121" actId="113"/>
          <ac:spMkLst>
            <pc:docMk/>
            <pc:sldMk cId="2790944942" sldId="3031"/>
            <ac:spMk id="61" creationId="{83BCA36A-B608-7EB5-3179-A8BEF592626D}"/>
          </ac:spMkLst>
        </pc:spChg>
        <pc:spChg chg="add mod">
          <ac:chgData name="Otavio Augusto Sabia Gava" userId="68ac195b-011b-467c-86d4-321df89323d0" providerId="ADAL" clId="{0C687AD9-2800-41E2-AA69-D02ABC7EDD76}" dt="2023-11-27T17:34:28.128" v="19125" actId="113"/>
          <ac:spMkLst>
            <pc:docMk/>
            <pc:sldMk cId="2790944942" sldId="3031"/>
            <ac:spMk id="62" creationId="{C417C30B-5542-A5CF-7308-34CA169A6EBD}"/>
          </ac:spMkLst>
        </pc:spChg>
        <pc:spChg chg="add mod">
          <ac:chgData name="Otavio Augusto Sabia Gava" userId="68ac195b-011b-467c-86d4-321df89323d0" providerId="ADAL" clId="{0C687AD9-2800-41E2-AA69-D02ABC7EDD76}" dt="2023-11-27T17:34:32.110" v="19128" actId="113"/>
          <ac:spMkLst>
            <pc:docMk/>
            <pc:sldMk cId="2790944942" sldId="3031"/>
            <ac:spMk id="63" creationId="{42FCD1ED-623A-4FCE-B57D-027CE04203EE}"/>
          </ac:spMkLst>
        </pc:spChg>
        <pc:spChg chg="add mod">
          <ac:chgData name="Otavio Augusto Sabia Gava" userId="68ac195b-011b-467c-86d4-321df89323d0" providerId="ADAL" clId="{0C687AD9-2800-41E2-AA69-D02ABC7EDD76}" dt="2023-11-27T17:34:25.715" v="19123" actId="113"/>
          <ac:spMkLst>
            <pc:docMk/>
            <pc:sldMk cId="2790944942" sldId="3031"/>
            <ac:spMk id="64" creationId="{E68C4F1C-6D6C-7A88-F0B2-89008251D136}"/>
          </ac:spMkLst>
        </pc:spChg>
        <pc:spChg chg="add mod">
          <ac:chgData name="Otavio Augusto Sabia Gava" userId="68ac195b-011b-467c-86d4-321df89323d0" providerId="ADAL" clId="{0C687AD9-2800-41E2-AA69-D02ABC7EDD76}" dt="2023-11-27T17:34:24.410" v="19122" actId="113"/>
          <ac:spMkLst>
            <pc:docMk/>
            <pc:sldMk cId="2790944942" sldId="3031"/>
            <ac:spMk id="65" creationId="{1EF149A6-A276-DA79-82D2-CE3761C4CF2B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73" creationId="{DE1A7ED1-A62B-A1AF-BF99-4A15EED42071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74" creationId="{CD78102B-D3C1-C0DD-EC10-EDEC1DDF2D4B}"/>
          </ac:spMkLst>
        </pc:spChg>
        <pc:spChg chg="del">
          <ac:chgData name="Otavio Augusto Sabia Gava" userId="68ac195b-011b-467c-86d4-321df89323d0" providerId="ADAL" clId="{0C687AD9-2800-41E2-AA69-D02ABC7EDD76}" dt="2023-11-21T15:16:13.717" v="14119" actId="478"/>
          <ac:spMkLst>
            <pc:docMk/>
            <pc:sldMk cId="2790944942" sldId="3031"/>
            <ac:spMk id="76" creationId="{1E61A2F4-8A93-E992-288B-D758E4059634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77" creationId="{F1D4DFEF-1BED-EFCF-73C0-EF71387AC316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79" creationId="{F283FA39-0B63-E77D-ECA6-212E500A2D6D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80" creationId="{77906E8F-08CF-16B5-4C09-364255F29068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83" creationId="{509FCF4E-B889-1666-D79D-694B3AA66512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84" creationId="{C40570A4-4639-6BF0-9C11-783D1D59544D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85" creationId="{D42CEF2B-2398-629A-E71F-22B60C3CE380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2" creationId="{56FD9D27-40B4-3B30-EDDF-723326913A08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4" creationId="{8CF38FD8-73E9-C603-8E53-B70F9B12ED21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6" creationId="{AD5DD44F-2937-DB2E-8F7F-1332F110E1BF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7" creationId="{ED52EC0E-4557-D821-B45C-E5C4A2E679C5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8" creationId="{7ED90F15-0A47-138C-CB6D-CFBEFF45AADF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99" creationId="{DA83B31C-93BE-3420-1720-E6A5E134BEE9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01" creationId="{075CAC12-8545-4ACC-B4C2-7A3488CF9AAB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09" creationId="{E9E282CD-8691-7948-94ED-3EFB0132AA94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14" creationId="{F7AB7259-D9D3-8C06-AB05-7D97C5C8BAA1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17" creationId="{F1487F2E-0C87-7E32-C335-A7F48AAB362E}"/>
          </ac:spMkLst>
        </pc:spChg>
        <pc:spChg chg="del">
          <ac:chgData name="Otavio Augusto Sabia Gava" userId="68ac195b-011b-467c-86d4-321df89323d0" providerId="ADAL" clId="{0C687AD9-2800-41E2-AA69-D02ABC7EDD76}" dt="2023-11-21T15:16:11.404" v="14118" actId="478"/>
          <ac:spMkLst>
            <pc:docMk/>
            <pc:sldMk cId="2790944942" sldId="3031"/>
            <ac:spMk id="118" creationId="{C8570649-D76B-5C1A-57D2-3CA4C6AB262E}"/>
          </ac:spMkLst>
        </pc:spChg>
        <pc:spChg chg="add del mod">
          <ac:chgData name="Otavio Augusto Sabia Gava" userId="68ac195b-011b-467c-86d4-321df89323d0" providerId="ADAL" clId="{0C687AD9-2800-41E2-AA69-D02ABC7EDD76}" dt="2023-11-21T16:38:23.457" v="14209" actId="1076"/>
          <ac:spMkLst>
            <pc:docMk/>
            <pc:sldMk cId="2790944942" sldId="3031"/>
            <ac:spMk id="124" creationId="{47A791B8-AB8D-33BC-6B32-465EE06A06D7}"/>
          </ac:spMkLst>
        </pc:spChg>
        <pc:spChg chg="add mod">
          <ac:chgData name="Otavio Augusto Sabia Gava" userId="68ac195b-011b-467c-86d4-321df89323d0" providerId="ADAL" clId="{0C687AD9-2800-41E2-AA69-D02ABC7EDD76}" dt="2023-11-27T17:34:29.372" v="19126" actId="113"/>
          <ac:spMkLst>
            <pc:docMk/>
            <pc:sldMk cId="2790944942" sldId="3031"/>
            <ac:spMk id="125" creationId="{0D308112-17FF-8939-C890-BAB407BDD4E1}"/>
          </ac:spMkLst>
        </pc:spChg>
        <pc:spChg chg="add mod">
          <ac:chgData name="Otavio Augusto Sabia Gava" userId="68ac195b-011b-467c-86d4-321df89323d0" providerId="ADAL" clId="{0C687AD9-2800-41E2-AA69-D02ABC7EDD76}" dt="2023-11-27T17:34:30.534" v="19127" actId="113"/>
          <ac:spMkLst>
            <pc:docMk/>
            <pc:sldMk cId="2790944942" sldId="3031"/>
            <ac:spMk id="126" creationId="{89877CE3-B996-B2DA-058E-E24A40B98B2B}"/>
          </ac:spMkLst>
        </pc:spChg>
        <pc:spChg chg="add mod">
          <ac:chgData name="Otavio Augusto Sabia Gava" userId="68ac195b-011b-467c-86d4-321df89323d0" providerId="ADAL" clId="{0C687AD9-2800-41E2-AA69-D02ABC7EDD76}" dt="2023-11-21T16:38:10.704" v="14206" actId="1076"/>
          <ac:spMkLst>
            <pc:docMk/>
            <pc:sldMk cId="2790944942" sldId="3031"/>
            <ac:spMk id="127" creationId="{15424BD2-4F59-FBEA-8FEE-738F9BAC1B5A}"/>
          </ac:spMkLst>
        </pc:s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7" creationId="{20DDEEC4-AB2F-A520-8D34-E552E3E94F9D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24" creationId="{95BC8E50-7B66-3819-F795-A930FD3B4D27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37" creationId="{8F6FE74A-5133-F6AE-77DA-6691E16C29DA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41" creationId="{A9C43800-E3D0-20C9-B5E8-B0BD6AF0522B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45" creationId="{0189654D-86DA-F828-8A90-C0D0CF544B5B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49" creationId="{9038B309-2D52-AE7D-9236-D6DAD2A58908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53" creationId="{B61133C3-711B-4975-2A27-31CDC959E69D}"/>
          </ac:grpSpMkLst>
        </pc:grpChg>
        <pc:grpChg chg="add mod">
          <ac:chgData name="Otavio Augusto Sabia Gava" userId="68ac195b-011b-467c-86d4-321df89323d0" providerId="ADAL" clId="{0C687AD9-2800-41E2-AA69-D02ABC7EDD76}" dt="2023-11-21T16:35:08.557" v="14120"/>
          <ac:grpSpMkLst>
            <pc:docMk/>
            <pc:sldMk cId="2790944942" sldId="3031"/>
            <ac:grpSpMk id="57" creationId="{AF0705B6-4FCA-9F64-AF73-C4A402BA3761}"/>
          </ac:grpSpMkLst>
        </pc:grpChg>
        <pc:grpChg chg="del">
          <ac:chgData name="Otavio Augusto Sabia Gava" userId="68ac195b-011b-467c-86d4-321df89323d0" providerId="ADAL" clId="{0C687AD9-2800-41E2-AA69-D02ABC7EDD76}" dt="2023-11-21T15:16:11.404" v="14118" actId="478"/>
          <ac:grpSpMkLst>
            <pc:docMk/>
            <pc:sldMk cId="2790944942" sldId="3031"/>
            <ac:grpSpMk id="86" creationId="{84CB2966-4CA5-0B25-587B-81CB2069B322}"/>
          </ac:grpSpMkLst>
        </pc:grpChg>
        <pc:grpChg chg="del">
          <ac:chgData name="Otavio Augusto Sabia Gava" userId="68ac195b-011b-467c-86d4-321df89323d0" providerId="ADAL" clId="{0C687AD9-2800-41E2-AA69-D02ABC7EDD76}" dt="2023-11-21T15:16:11.404" v="14118" actId="478"/>
          <ac:grpSpMkLst>
            <pc:docMk/>
            <pc:sldMk cId="2790944942" sldId="3031"/>
            <ac:grpSpMk id="103" creationId="{35691495-7170-77C5-DACC-AAD8B9760EA5}"/>
          </ac:grpSpMkLst>
        </pc:grp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3" creationId="{A643955D-EEBB-3DC2-5690-60444E98C115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4" creationId="{5B69EE8F-047C-7FC5-8C94-6703B11BA6C4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0" creationId="{3BD7D6DA-8A35-44D1-50FB-3BEA18508151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4" creationId="{30C14AF0-2DEA-40A1-F616-7D9B5580C58D}"/>
          </ac:picMkLst>
        </pc:picChg>
        <pc:picChg chg="del">
          <ac:chgData name="Otavio Augusto Sabia Gava" userId="68ac195b-011b-467c-86d4-321df89323d0" providerId="ADAL" clId="{0C687AD9-2800-41E2-AA69-D02ABC7EDD76}" dt="2023-11-21T15:16:13.717" v="14119" actId="478"/>
          <ac:picMkLst>
            <pc:docMk/>
            <pc:sldMk cId="2790944942" sldId="3031"/>
            <ac:picMk id="18" creationId="{EACE3992-7C12-E2E9-85A7-E782C1D4F912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22" creationId="{DF013EB1-ECF6-B28E-AE55-A3B5316D5E7C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34" creationId="{ED0A6421-C1F3-8EB3-CC5B-8C30100C10F9}"/>
          </ac:picMkLst>
        </pc:picChg>
        <pc:picChg chg="del">
          <ac:chgData name="Otavio Augusto Sabia Gava" userId="68ac195b-011b-467c-86d4-321df89323d0" providerId="ADAL" clId="{0C687AD9-2800-41E2-AA69-D02ABC7EDD76}" dt="2023-11-21T15:16:13.717" v="14119" actId="478"/>
          <ac:picMkLst>
            <pc:docMk/>
            <pc:sldMk cId="2790944942" sldId="3031"/>
            <ac:picMk id="35" creationId="{9E46464D-1625-4BAF-8D95-EC8454A8BBEC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66" creationId="{DECFC3BC-1294-B1D8-BD62-BB1155F4D74F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67" creationId="{8B4720AD-2F9D-8F06-3834-1821779B4B63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68" creationId="{AB6B88D1-B54C-1F17-A853-AB3BFAF592CD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69" creationId="{73BBEEAE-8F92-738E-A5F9-F3659F056EF4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70" creationId="{FB3120F3-052F-471C-54DB-A5ECABD02B19}"/>
          </ac:picMkLst>
        </pc:picChg>
        <pc:picChg chg="del">
          <ac:chgData name="Otavio Augusto Sabia Gava" userId="68ac195b-011b-467c-86d4-321df89323d0" providerId="ADAL" clId="{0C687AD9-2800-41E2-AA69-D02ABC7EDD76}" dt="2023-11-21T15:16:13.717" v="14119" actId="478"/>
          <ac:picMkLst>
            <pc:docMk/>
            <pc:sldMk cId="2790944942" sldId="3031"/>
            <ac:picMk id="75" creationId="{CCDD5771-8C83-14B9-6DED-77C73BD04EF5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81" creationId="{7BD2993B-C852-BD59-4446-883D6C68C6A9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82" creationId="{65883C1E-0BDE-FFEF-D64D-AFED1213F3D1}"/>
          </ac:picMkLst>
        </pc:picChg>
        <pc:picChg chg="mod">
          <ac:chgData name="Otavio Augusto Sabia Gava" userId="68ac195b-011b-467c-86d4-321df89323d0" providerId="ADAL" clId="{0C687AD9-2800-41E2-AA69-D02ABC7EDD76}" dt="2023-11-21T16:39:23.717" v="14213"/>
          <ac:picMkLst>
            <pc:docMk/>
            <pc:sldMk cId="2790944942" sldId="3031"/>
            <ac:picMk id="90" creationId="{A307619D-7E7E-9AF2-AC93-1D1D7315D7E7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95" creationId="{929E016B-6496-8957-5A28-AAB5CAA6B8A1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00" creationId="{1DE23B89-EBA4-5E3F-E125-28E1E3DCDA56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08" creationId="{2F49F2A0-2EDF-8D1F-0EE7-83254F558832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10" creationId="{A8E6D397-8E76-1D2F-7F40-44BE5664EA06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12" creationId="{0E9B4EC5-8F13-6428-B714-EB38C86F1D37}"/>
          </ac:picMkLst>
        </pc:picChg>
        <pc:picChg chg="del">
          <ac:chgData name="Otavio Augusto Sabia Gava" userId="68ac195b-011b-467c-86d4-321df89323d0" providerId="ADAL" clId="{0C687AD9-2800-41E2-AA69-D02ABC7EDD76}" dt="2023-11-21T15:16:11.404" v="14118" actId="478"/>
          <ac:picMkLst>
            <pc:docMk/>
            <pc:sldMk cId="2790944942" sldId="3031"/>
            <ac:picMk id="115" creationId="{B2F49B76-DE93-2722-E776-AD0B4111190A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119" creationId="{F437EF57-502A-2C38-23E4-94516FB8F96F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120" creationId="{5651BC21-E26D-D395-B3BF-DDF2ED878BF8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121" creationId="{07A6756E-A071-3CA5-F165-757E7F39C605}"/>
          </ac:picMkLst>
        </pc:picChg>
        <pc:picChg chg="add mod">
          <ac:chgData name="Otavio Augusto Sabia Gava" userId="68ac195b-011b-467c-86d4-321df89323d0" providerId="ADAL" clId="{0C687AD9-2800-41E2-AA69-D02ABC7EDD76}" dt="2023-11-21T16:35:08.557" v="14120"/>
          <ac:picMkLst>
            <pc:docMk/>
            <pc:sldMk cId="2790944942" sldId="3031"/>
            <ac:picMk id="122" creationId="{C7AD3F0D-D848-6C4B-EECA-20AD6AE69105}"/>
          </ac:picMkLst>
        </pc:picChg>
        <pc:picChg chg="add mod">
          <ac:chgData name="Otavio Augusto Sabia Gava" userId="68ac195b-011b-467c-86d4-321df89323d0" providerId="ADAL" clId="{0C687AD9-2800-41E2-AA69-D02ABC7EDD76}" dt="2023-11-21T16:38:28.824" v="14211" actId="1076"/>
          <ac:picMkLst>
            <pc:docMk/>
            <pc:sldMk cId="2790944942" sldId="3031"/>
            <ac:picMk id="123" creationId="{B367F4FF-2CBF-01EC-8AE9-3B2DD228BEF3}"/>
          </ac:picMkLst>
        </pc:pic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8" creationId="{FE7A64DE-8BD3-47A7-176C-1E77CF23B5F2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2" creationId="{D837ABC8-1A1E-3799-554D-29B4C70F3EBD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6" creationId="{1978C4B3-B80E-113E-F916-96E1D8119CCB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7" creationId="{5599892C-4745-7E98-63FB-EC45795D9375}"/>
          </ac:cxnSpMkLst>
        </pc:cxnChg>
        <pc:cxnChg chg="del">
          <ac:chgData name="Otavio Augusto Sabia Gava" userId="68ac195b-011b-467c-86d4-321df89323d0" providerId="ADAL" clId="{0C687AD9-2800-41E2-AA69-D02ABC7EDD76}" dt="2023-11-21T15:16:13.717" v="14119" actId="478"/>
          <ac:cxnSpMkLst>
            <pc:docMk/>
            <pc:sldMk cId="2790944942" sldId="3031"/>
            <ac:cxnSpMk id="21" creationId="{14EDB138-AF0D-005C-F878-BD41547C399B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27" creationId="{8CE59C13-5130-13F8-0E26-7452A2444F5C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29" creationId="{8ED6EF8B-1E16-10A8-B373-B21166755833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31" creationId="{A440378D-F2D2-69A8-7B62-7EBE2E80362C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71" creationId="{92454B17-2696-0BBA-98B0-5C28B453C08A}"/>
          </ac:cxnSpMkLst>
        </pc:cxnChg>
        <pc:cxnChg chg="del">
          <ac:chgData name="Otavio Augusto Sabia Gava" userId="68ac195b-011b-467c-86d4-321df89323d0" providerId="ADAL" clId="{0C687AD9-2800-41E2-AA69-D02ABC7EDD76}" dt="2023-11-21T15:16:13.717" v="14119" actId="478"/>
          <ac:cxnSpMkLst>
            <pc:docMk/>
            <pc:sldMk cId="2790944942" sldId="3031"/>
            <ac:cxnSpMk id="72" creationId="{1A80D432-0DCD-8135-BE4E-BA2550AF66A3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78" creationId="{03E5BCB9-192C-E4F2-DC02-210E2A85FE5B}"/>
          </ac:cxnSpMkLst>
        </pc:cxnChg>
        <pc:cxnChg chg="del mod">
          <ac:chgData name="Otavio Augusto Sabia Gava" userId="68ac195b-011b-467c-86d4-321df89323d0" providerId="ADAL" clId="{0C687AD9-2800-41E2-AA69-D02ABC7EDD76}" dt="2023-11-21T15:16:13.717" v="14119" actId="478"/>
          <ac:cxnSpMkLst>
            <pc:docMk/>
            <pc:sldMk cId="2790944942" sldId="3031"/>
            <ac:cxnSpMk id="93" creationId="{F78D347C-4199-068E-3E0F-C4B2FC92292B}"/>
          </ac:cxnSpMkLst>
        </pc:cxnChg>
        <pc:cxnChg chg="del mod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02" creationId="{0AEFACE9-380D-1E8C-7723-753C8B067998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11" creationId="{59E404A2-30B4-34EE-1C04-6BA87E55063B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13" creationId="{494A2B12-4019-0911-0155-00FB122FA1EA}"/>
          </ac:cxnSpMkLst>
        </pc:cxnChg>
        <pc:cxnChg chg="del">
          <ac:chgData name="Otavio Augusto Sabia Gava" userId="68ac195b-011b-467c-86d4-321df89323d0" providerId="ADAL" clId="{0C687AD9-2800-41E2-AA69-D02ABC7EDD76}" dt="2023-11-21T15:16:11.404" v="14118" actId="478"/>
          <ac:cxnSpMkLst>
            <pc:docMk/>
            <pc:sldMk cId="2790944942" sldId="3031"/>
            <ac:cxnSpMk id="116" creationId="{04910609-C3BC-AF0F-4609-D9FE8C5925C1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1-29T17:09:25.930" v="27394" actId="2696"/>
        <pc:sldMkLst>
          <pc:docMk/>
          <pc:sldMk cId="700000275" sldId="3032"/>
        </pc:sldMkLst>
        <pc:spChg chg="del">
          <ac:chgData name="Otavio Augusto Sabia Gava" userId="68ac195b-011b-467c-86d4-321df89323d0" providerId="ADAL" clId="{0C687AD9-2800-41E2-AA69-D02ABC7EDD76}" dt="2023-11-21T17:23:32.620" v="15211" actId="478"/>
          <ac:spMkLst>
            <pc:docMk/>
            <pc:sldMk cId="700000275" sldId="3032"/>
            <ac:spMk id="2" creationId="{E49F98B2-A12B-7F06-A60B-4B4FE787BB64}"/>
          </ac:spMkLst>
        </pc:spChg>
        <pc:spChg chg="add mod">
          <ac:chgData name="Otavio Augusto Sabia Gava" userId="68ac195b-011b-467c-86d4-321df89323d0" providerId="ADAL" clId="{0C687AD9-2800-41E2-AA69-D02ABC7EDD76}" dt="2023-11-21T17:44:33.696" v="15703" actId="113"/>
          <ac:spMkLst>
            <pc:docMk/>
            <pc:sldMk cId="700000275" sldId="3032"/>
            <ac:spMk id="3" creationId="{CD22D6F7-DE97-98CE-38B4-E8B5C974C508}"/>
          </ac:spMkLst>
        </pc:spChg>
        <pc:spChg chg="add mod">
          <ac:chgData name="Otavio Augusto Sabia Gava" userId="68ac195b-011b-467c-86d4-321df89323d0" providerId="ADAL" clId="{0C687AD9-2800-41E2-AA69-D02ABC7EDD76}" dt="2023-11-21T17:56:12.114" v="15875" actId="113"/>
          <ac:spMkLst>
            <pc:docMk/>
            <pc:sldMk cId="700000275" sldId="3032"/>
            <ac:spMk id="4" creationId="{00B658D0-B554-4D81-FB3B-7E63C5083496}"/>
          </ac:spMkLst>
        </pc:spChg>
        <pc:spChg chg="mod">
          <ac:chgData name="Otavio Augusto Sabia Gava" userId="68ac195b-011b-467c-86d4-321df89323d0" providerId="ADAL" clId="{0C687AD9-2800-41E2-AA69-D02ABC7EDD76}" dt="2023-11-21T17:23:44.409" v="15221" actId="20577"/>
          <ac:spMkLst>
            <pc:docMk/>
            <pc:sldMk cId="700000275" sldId="3032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1T17:26:48.341" v="15267" actId="113"/>
          <ac:spMkLst>
            <pc:docMk/>
            <pc:sldMk cId="700000275" sldId="3032"/>
            <ac:spMk id="6" creationId="{F865C81C-0ED5-A531-B900-B5EEB9CCA0C6}"/>
          </ac:spMkLst>
        </pc:spChg>
        <pc:spChg chg="add mod">
          <ac:chgData name="Otavio Augusto Sabia Gava" userId="68ac195b-011b-467c-86d4-321df89323d0" providerId="ADAL" clId="{0C687AD9-2800-41E2-AA69-D02ABC7EDD76}" dt="2023-11-21T17:56:13.990" v="15877" actId="113"/>
          <ac:spMkLst>
            <pc:docMk/>
            <pc:sldMk cId="700000275" sldId="3032"/>
            <ac:spMk id="8" creationId="{3DCF3494-DABA-74A7-CF99-86E05B093256}"/>
          </ac:spMkLst>
        </pc:spChg>
        <pc:spChg chg="add mod">
          <ac:chgData name="Otavio Augusto Sabia Gava" userId="68ac195b-011b-467c-86d4-321df89323d0" providerId="ADAL" clId="{0C687AD9-2800-41E2-AA69-D02ABC7EDD76}" dt="2023-11-21T17:27:22.613" v="15289" actId="113"/>
          <ac:spMkLst>
            <pc:docMk/>
            <pc:sldMk cId="700000275" sldId="3032"/>
            <ac:spMk id="10" creationId="{DF790A63-17DD-8352-A982-1AA016156D09}"/>
          </ac:spMkLst>
        </pc:spChg>
        <pc:spChg chg="add mod">
          <ac:chgData name="Otavio Augusto Sabia Gava" userId="68ac195b-011b-467c-86d4-321df89323d0" providerId="ADAL" clId="{0C687AD9-2800-41E2-AA69-D02ABC7EDD76}" dt="2023-11-21T17:56:12.851" v="15876" actId="113"/>
          <ac:spMkLst>
            <pc:docMk/>
            <pc:sldMk cId="700000275" sldId="3032"/>
            <ac:spMk id="11" creationId="{11ACEBBC-E7EC-E1EF-E7A5-5E1A78C93DDC}"/>
          </ac:spMkLst>
        </pc:spChg>
        <pc:spChg chg="del">
          <ac:chgData name="Otavio Augusto Sabia Gava" userId="68ac195b-011b-467c-86d4-321df89323d0" providerId="ADAL" clId="{0C687AD9-2800-41E2-AA69-D02ABC7EDD76}" dt="2023-11-21T17:23:32.620" v="15211" actId="478"/>
          <ac:spMkLst>
            <pc:docMk/>
            <pc:sldMk cId="700000275" sldId="3032"/>
            <ac:spMk id="61" creationId="{83BCA36A-B608-7EB5-3179-A8BEF592626D}"/>
          </ac:spMkLst>
        </pc:spChg>
        <pc:spChg chg="del">
          <ac:chgData name="Otavio Augusto Sabia Gava" userId="68ac195b-011b-467c-86d4-321df89323d0" providerId="ADAL" clId="{0C687AD9-2800-41E2-AA69-D02ABC7EDD76}" dt="2023-11-21T17:23:37.338" v="15213" actId="478"/>
          <ac:spMkLst>
            <pc:docMk/>
            <pc:sldMk cId="700000275" sldId="3032"/>
            <ac:spMk id="62" creationId="{C417C30B-5542-A5CF-7308-34CA169A6EBD}"/>
          </ac:spMkLst>
        </pc:spChg>
        <pc:spChg chg="del">
          <ac:chgData name="Otavio Augusto Sabia Gava" userId="68ac195b-011b-467c-86d4-321df89323d0" providerId="ADAL" clId="{0C687AD9-2800-41E2-AA69-D02ABC7EDD76}" dt="2023-11-21T17:23:34.815" v="15212" actId="478"/>
          <ac:spMkLst>
            <pc:docMk/>
            <pc:sldMk cId="700000275" sldId="3032"/>
            <ac:spMk id="63" creationId="{42FCD1ED-623A-4FCE-B57D-027CE04203EE}"/>
          </ac:spMkLst>
        </pc:spChg>
        <pc:spChg chg="del">
          <ac:chgData name="Otavio Augusto Sabia Gava" userId="68ac195b-011b-467c-86d4-321df89323d0" providerId="ADAL" clId="{0C687AD9-2800-41E2-AA69-D02ABC7EDD76}" dt="2023-11-21T17:23:34.815" v="15212" actId="478"/>
          <ac:spMkLst>
            <pc:docMk/>
            <pc:sldMk cId="700000275" sldId="3032"/>
            <ac:spMk id="64" creationId="{E68C4F1C-6D6C-7A88-F0B2-89008251D136}"/>
          </ac:spMkLst>
        </pc:spChg>
        <pc:spChg chg="del">
          <ac:chgData name="Otavio Augusto Sabia Gava" userId="68ac195b-011b-467c-86d4-321df89323d0" providerId="ADAL" clId="{0C687AD9-2800-41E2-AA69-D02ABC7EDD76}" dt="2023-11-21T17:23:34.815" v="15212" actId="478"/>
          <ac:spMkLst>
            <pc:docMk/>
            <pc:sldMk cId="700000275" sldId="3032"/>
            <ac:spMk id="65" creationId="{1EF149A6-A276-DA79-82D2-CE3761C4CF2B}"/>
          </ac:spMkLst>
        </pc:spChg>
        <pc:spChg chg="del">
          <ac:chgData name="Otavio Augusto Sabia Gava" userId="68ac195b-011b-467c-86d4-321df89323d0" providerId="ADAL" clId="{0C687AD9-2800-41E2-AA69-D02ABC7EDD76}" dt="2023-11-21T17:23:32.620" v="15211" actId="478"/>
          <ac:spMkLst>
            <pc:docMk/>
            <pc:sldMk cId="700000275" sldId="3032"/>
            <ac:spMk id="124" creationId="{47A791B8-AB8D-33BC-6B32-465EE06A06D7}"/>
          </ac:spMkLst>
        </pc:spChg>
        <pc:spChg chg="del">
          <ac:chgData name="Otavio Augusto Sabia Gava" userId="68ac195b-011b-467c-86d4-321df89323d0" providerId="ADAL" clId="{0C687AD9-2800-41E2-AA69-D02ABC7EDD76}" dt="2023-11-21T17:23:38.559" v="15214" actId="478"/>
          <ac:spMkLst>
            <pc:docMk/>
            <pc:sldMk cId="700000275" sldId="3032"/>
            <ac:spMk id="125" creationId="{0D308112-17FF-8939-C890-BAB407BDD4E1}"/>
          </ac:spMkLst>
        </pc:spChg>
        <pc:spChg chg="del">
          <ac:chgData name="Otavio Augusto Sabia Gava" userId="68ac195b-011b-467c-86d4-321df89323d0" providerId="ADAL" clId="{0C687AD9-2800-41E2-AA69-D02ABC7EDD76}" dt="2023-11-21T17:23:38.559" v="15214" actId="478"/>
          <ac:spMkLst>
            <pc:docMk/>
            <pc:sldMk cId="700000275" sldId="3032"/>
            <ac:spMk id="126" creationId="{89877CE3-B996-B2DA-058E-E24A40B98B2B}"/>
          </ac:spMkLst>
        </pc:spChg>
        <pc:spChg chg="del">
          <ac:chgData name="Otavio Augusto Sabia Gava" userId="68ac195b-011b-467c-86d4-321df89323d0" providerId="ADAL" clId="{0C687AD9-2800-41E2-AA69-D02ABC7EDD76}" dt="2023-11-21T17:23:32.620" v="15211" actId="478"/>
          <ac:spMkLst>
            <pc:docMk/>
            <pc:sldMk cId="700000275" sldId="3032"/>
            <ac:spMk id="127" creationId="{15424BD2-4F59-FBEA-8FEE-738F9BAC1B5A}"/>
          </ac:spMkLst>
        </pc:s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7" creationId="{20DDEEC4-AB2F-A520-8D34-E552E3E94F9D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24" creationId="{95BC8E50-7B66-3819-F795-A930FD3B4D27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37" creationId="{8F6FE74A-5133-F6AE-77DA-6691E16C29DA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41" creationId="{A9C43800-E3D0-20C9-B5E8-B0BD6AF0522B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45" creationId="{0189654D-86DA-F828-8A90-C0D0CF544B5B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49" creationId="{9038B309-2D52-AE7D-9236-D6DAD2A58908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53" creationId="{B61133C3-711B-4975-2A27-31CDC959E69D}"/>
          </ac:grpSpMkLst>
        </pc:grpChg>
        <pc:grpChg chg="del">
          <ac:chgData name="Otavio Augusto Sabia Gava" userId="68ac195b-011b-467c-86d4-321df89323d0" providerId="ADAL" clId="{0C687AD9-2800-41E2-AA69-D02ABC7EDD76}" dt="2023-11-21T17:23:32.620" v="15211" actId="478"/>
          <ac:grpSpMkLst>
            <pc:docMk/>
            <pc:sldMk cId="700000275" sldId="3032"/>
            <ac:grpSpMk id="57" creationId="{AF0705B6-4FCA-9F64-AF73-C4A402BA3761}"/>
          </ac:grpSpMkLst>
        </pc:grpChg>
        <pc:picChg chg="add mod">
          <ac:chgData name="Otavio Augusto Sabia Gava" userId="68ac195b-011b-467c-86d4-321df89323d0" providerId="ADAL" clId="{0C687AD9-2800-41E2-AA69-D02ABC7EDD76}" dt="2023-11-21T17:27:46.857" v="15291"/>
          <ac:picMkLst>
            <pc:docMk/>
            <pc:sldMk cId="700000275" sldId="3032"/>
            <ac:picMk id="12" creationId="{046F788C-427E-C8F3-66EA-55FBE298ED0B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66" creationId="{DECFC3BC-1294-B1D8-BD62-BB1155F4D74F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67" creationId="{8B4720AD-2F9D-8F06-3834-1821779B4B63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68" creationId="{AB6B88D1-B54C-1F17-A853-AB3BFAF592CD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69" creationId="{73BBEEAE-8F92-738E-A5F9-F3659F056EF4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70" creationId="{FB3120F3-052F-471C-54DB-A5ECABD02B19}"/>
          </ac:picMkLst>
        </pc:picChg>
        <pc:picChg chg="mod">
          <ac:chgData name="Otavio Augusto Sabia Gava" userId="68ac195b-011b-467c-86d4-321df89323d0" providerId="ADAL" clId="{0C687AD9-2800-41E2-AA69-D02ABC7EDD76}" dt="2023-11-21T17:26:25.253" v="15261" actId="1076"/>
          <ac:picMkLst>
            <pc:docMk/>
            <pc:sldMk cId="700000275" sldId="3032"/>
            <ac:picMk id="90" creationId="{A307619D-7E7E-9AF2-AC93-1D1D7315D7E7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119" creationId="{F437EF57-502A-2C38-23E4-94516FB8F96F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120" creationId="{5651BC21-E26D-D395-B3BF-DDF2ED878BF8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121" creationId="{07A6756E-A071-3CA5-F165-757E7F39C605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122" creationId="{C7AD3F0D-D848-6C4B-EECA-20AD6AE69105}"/>
          </ac:picMkLst>
        </pc:picChg>
        <pc:picChg chg="del">
          <ac:chgData name="Otavio Augusto Sabia Gava" userId="68ac195b-011b-467c-86d4-321df89323d0" providerId="ADAL" clId="{0C687AD9-2800-41E2-AA69-D02ABC7EDD76}" dt="2023-11-21T17:23:32.620" v="15211" actId="478"/>
          <ac:picMkLst>
            <pc:docMk/>
            <pc:sldMk cId="700000275" sldId="3032"/>
            <ac:picMk id="123" creationId="{B367F4FF-2CBF-01EC-8AE9-3B2DD228BEF3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2246119239" sldId="3033"/>
        </pc:sldMkLst>
        <pc:spChg chg="add del mod">
          <ac:chgData name="Otavio Augusto Sabia Gava" userId="68ac195b-011b-467c-86d4-321df89323d0" providerId="ADAL" clId="{0C687AD9-2800-41E2-AA69-D02ABC7EDD76}" dt="2023-11-29T17:41:52.827" v="28644" actId="478"/>
          <ac:spMkLst>
            <pc:docMk/>
            <pc:sldMk cId="2246119239" sldId="3033"/>
            <ac:spMk id="2" creationId="{D4D08C8E-867B-145B-ED78-BD726DF932F8}"/>
          </ac:spMkLst>
        </pc:spChg>
        <pc:spChg chg="del">
          <ac:chgData name="Otavio Augusto Sabia Gava" userId="68ac195b-011b-467c-86d4-321df89323d0" providerId="ADAL" clId="{0C687AD9-2800-41E2-AA69-D02ABC7EDD76}" dt="2023-11-21T17:42:14.691" v="15611" actId="478"/>
          <ac:spMkLst>
            <pc:docMk/>
            <pc:sldMk cId="2246119239" sldId="3033"/>
            <ac:spMk id="3" creationId="{CD22D6F7-DE97-98CE-38B4-E8B5C974C508}"/>
          </ac:spMkLst>
        </pc:spChg>
        <pc:spChg chg="del">
          <ac:chgData name="Otavio Augusto Sabia Gava" userId="68ac195b-011b-467c-86d4-321df89323d0" providerId="ADAL" clId="{0C687AD9-2800-41E2-AA69-D02ABC7EDD76}" dt="2023-11-21T17:42:14.691" v="15611" actId="478"/>
          <ac:spMkLst>
            <pc:docMk/>
            <pc:sldMk cId="2246119239" sldId="3033"/>
            <ac:spMk id="4" creationId="{00B658D0-B554-4D81-FB3B-7E63C5083496}"/>
          </ac:spMkLst>
        </pc:spChg>
        <pc:spChg chg="mod">
          <ac:chgData name="Otavio Augusto Sabia Gava" userId="68ac195b-011b-467c-86d4-321df89323d0" providerId="ADAL" clId="{0C687AD9-2800-41E2-AA69-D02ABC7EDD76}" dt="2023-11-21T18:02:03.907" v="16197" actId="20577"/>
          <ac:spMkLst>
            <pc:docMk/>
            <pc:sldMk cId="2246119239" sldId="3033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9T17:45:23.769" v="28660" actId="1076"/>
          <ac:spMkLst>
            <pc:docMk/>
            <pc:sldMk cId="2246119239" sldId="3033"/>
            <ac:spMk id="6" creationId="{12EC0ABA-388B-7098-4FA6-FCEAADA14D38}"/>
          </ac:spMkLst>
        </pc:spChg>
        <pc:spChg chg="del">
          <ac:chgData name="Otavio Augusto Sabia Gava" userId="68ac195b-011b-467c-86d4-321df89323d0" providerId="ADAL" clId="{0C687AD9-2800-41E2-AA69-D02ABC7EDD76}" dt="2023-11-21T17:42:16.238" v="15612" actId="478"/>
          <ac:spMkLst>
            <pc:docMk/>
            <pc:sldMk cId="2246119239" sldId="3033"/>
            <ac:spMk id="6" creationId="{F865C81C-0ED5-A531-B900-B5EEB9CCA0C6}"/>
          </ac:spMkLst>
        </pc:spChg>
        <pc:spChg chg="add del mod">
          <ac:chgData name="Otavio Augusto Sabia Gava" userId="68ac195b-011b-467c-86d4-321df89323d0" providerId="ADAL" clId="{0C687AD9-2800-41E2-AA69-D02ABC7EDD76}" dt="2023-11-29T17:41:52.827" v="28644" actId="478"/>
          <ac:spMkLst>
            <pc:docMk/>
            <pc:sldMk cId="2246119239" sldId="3033"/>
            <ac:spMk id="7" creationId="{CE86A0E1-5542-CC1F-48ED-315AAAE38660}"/>
          </ac:spMkLst>
        </pc:spChg>
        <pc:spChg chg="del">
          <ac:chgData name="Otavio Augusto Sabia Gava" userId="68ac195b-011b-467c-86d4-321df89323d0" providerId="ADAL" clId="{0C687AD9-2800-41E2-AA69-D02ABC7EDD76}" dt="2023-11-21T17:42:16.238" v="15612" actId="478"/>
          <ac:spMkLst>
            <pc:docMk/>
            <pc:sldMk cId="2246119239" sldId="3033"/>
            <ac:spMk id="8" creationId="{3DCF3494-DABA-74A7-CF99-86E05B093256}"/>
          </ac:spMkLst>
        </pc:spChg>
        <pc:spChg chg="add del mod">
          <ac:chgData name="Otavio Augusto Sabia Gava" userId="68ac195b-011b-467c-86d4-321df89323d0" providerId="ADAL" clId="{0C687AD9-2800-41E2-AA69-D02ABC7EDD76}" dt="2023-11-29T17:41:54.758" v="28645" actId="478"/>
          <ac:spMkLst>
            <pc:docMk/>
            <pc:sldMk cId="2246119239" sldId="3033"/>
            <ac:spMk id="9" creationId="{219B05DE-8353-1F7C-CE2D-7B655E46E20C}"/>
          </ac:spMkLst>
        </pc:spChg>
        <pc:spChg chg="del">
          <ac:chgData name="Otavio Augusto Sabia Gava" userId="68ac195b-011b-467c-86d4-321df89323d0" providerId="ADAL" clId="{0C687AD9-2800-41E2-AA69-D02ABC7EDD76}" dt="2023-11-21T17:42:14.691" v="15611" actId="478"/>
          <ac:spMkLst>
            <pc:docMk/>
            <pc:sldMk cId="2246119239" sldId="3033"/>
            <ac:spMk id="10" creationId="{DF790A63-17DD-8352-A982-1AA016156D09}"/>
          </ac:spMkLst>
        </pc:spChg>
        <pc:spChg chg="del">
          <ac:chgData name="Otavio Augusto Sabia Gava" userId="68ac195b-011b-467c-86d4-321df89323d0" providerId="ADAL" clId="{0C687AD9-2800-41E2-AA69-D02ABC7EDD76}" dt="2023-11-21T17:42:17.842" v="15613" actId="478"/>
          <ac:spMkLst>
            <pc:docMk/>
            <pc:sldMk cId="2246119239" sldId="3033"/>
            <ac:spMk id="11" creationId="{11ACEBBC-E7EC-E1EF-E7A5-5E1A78C93DDC}"/>
          </ac:spMkLst>
        </pc:spChg>
        <pc:spChg chg="add del mod">
          <ac:chgData name="Otavio Augusto Sabia Gava" userId="68ac195b-011b-467c-86d4-321df89323d0" providerId="ADAL" clId="{0C687AD9-2800-41E2-AA69-D02ABC7EDD76}" dt="2023-11-29T17:41:54.758" v="28645" actId="478"/>
          <ac:spMkLst>
            <pc:docMk/>
            <pc:sldMk cId="2246119239" sldId="3033"/>
            <ac:spMk id="13" creationId="{15C3AB58-C706-FB73-E980-D688343516C2}"/>
          </ac:spMkLst>
        </pc:spChg>
        <pc:spChg chg="add del mod">
          <ac:chgData name="Otavio Augusto Sabia Gava" userId="68ac195b-011b-467c-86d4-321df89323d0" providerId="ADAL" clId="{0C687AD9-2800-41E2-AA69-D02ABC7EDD76}" dt="2023-11-29T17:41:52.827" v="28644" actId="478"/>
          <ac:spMkLst>
            <pc:docMk/>
            <pc:sldMk cId="2246119239" sldId="3033"/>
            <ac:spMk id="14" creationId="{F1E8D39C-D7F9-8099-7A12-68FE1F572897}"/>
          </ac:spMkLst>
        </pc:spChg>
        <pc:spChg chg="add del mod">
          <ac:chgData name="Otavio Augusto Sabia Gava" userId="68ac195b-011b-467c-86d4-321df89323d0" providerId="ADAL" clId="{0C687AD9-2800-41E2-AA69-D02ABC7EDD76}" dt="2023-11-29T17:41:52.827" v="28644" actId="478"/>
          <ac:spMkLst>
            <pc:docMk/>
            <pc:sldMk cId="2246119239" sldId="3033"/>
            <ac:spMk id="15" creationId="{9FC6F174-98A9-C2AF-4C1A-A3335B82659A}"/>
          </ac:spMkLst>
        </pc:spChg>
        <pc:spChg chg="add del mod">
          <ac:chgData name="Otavio Augusto Sabia Gava" userId="68ac195b-011b-467c-86d4-321df89323d0" providerId="ADAL" clId="{0C687AD9-2800-41E2-AA69-D02ABC7EDD76}" dt="2023-11-21T17:45:20.034" v="15719"/>
          <ac:spMkLst>
            <pc:docMk/>
            <pc:sldMk cId="2246119239" sldId="3033"/>
            <ac:spMk id="32" creationId="{E76A93A0-2D19-6BC6-63C1-8645D2A7AB78}"/>
          </ac:spMkLst>
        </pc:spChg>
        <pc:spChg chg="add del mod">
          <ac:chgData name="Otavio Augusto Sabia Gava" userId="68ac195b-011b-467c-86d4-321df89323d0" providerId="ADAL" clId="{0C687AD9-2800-41E2-AA69-D02ABC7EDD76}" dt="2023-11-21T17:45:20.034" v="15719"/>
          <ac:spMkLst>
            <pc:docMk/>
            <pc:sldMk cId="2246119239" sldId="3033"/>
            <ac:spMk id="37" creationId="{ED894BC8-2AD9-10EF-58A5-C53813664FC6}"/>
          </ac:spMkLst>
        </pc:spChg>
        <pc:grpChg chg="add del mod">
          <ac:chgData name="Otavio Augusto Sabia Gava" userId="68ac195b-011b-467c-86d4-321df89323d0" providerId="ADAL" clId="{0C687AD9-2800-41E2-AA69-D02ABC7EDD76}" dt="2023-11-21T17:45:20.034" v="15719"/>
          <ac:grpSpMkLst>
            <pc:docMk/>
            <pc:sldMk cId="2246119239" sldId="3033"/>
            <ac:grpSpMk id="19" creationId="{D2E6BA65-0D4E-70FA-2EA1-CF39A9E372C4}"/>
          </ac:grpSpMkLst>
        </pc:grpChg>
        <pc:picChg chg="add mod">
          <ac:chgData name="Otavio Augusto Sabia Gava" userId="68ac195b-011b-467c-86d4-321df89323d0" providerId="ADAL" clId="{0C687AD9-2800-41E2-AA69-D02ABC7EDD76}" dt="2023-11-29T17:45:35.696" v="28661"/>
          <ac:picMkLst>
            <pc:docMk/>
            <pc:sldMk cId="2246119239" sldId="3033"/>
            <ac:picMk id="3" creationId="{717283B4-B4D7-222C-83CC-2F6A0AF7ABF3}"/>
          </ac:picMkLst>
        </pc:picChg>
        <pc:picChg chg="add mod">
          <ac:chgData name="Otavio Augusto Sabia Gava" userId="68ac195b-011b-467c-86d4-321df89323d0" providerId="ADAL" clId="{0C687AD9-2800-41E2-AA69-D02ABC7EDD76}" dt="2023-11-29T17:44:39.771" v="28659"/>
          <ac:picMkLst>
            <pc:docMk/>
            <pc:sldMk cId="2246119239" sldId="3033"/>
            <ac:picMk id="4" creationId="{E72A2468-9E8B-D6FD-408F-8C90A026A5D4}"/>
          </ac:picMkLst>
        </pc:picChg>
        <pc:picChg chg="add mod">
          <ac:chgData name="Otavio Augusto Sabia Gava" userId="68ac195b-011b-467c-86d4-321df89323d0" providerId="ADAL" clId="{0C687AD9-2800-41E2-AA69-D02ABC7EDD76}" dt="2023-11-29T17:43:48.152" v="28656"/>
          <ac:picMkLst>
            <pc:docMk/>
            <pc:sldMk cId="2246119239" sldId="3033"/>
            <ac:picMk id="8" creationId="{9C7147A1-D220-5346-F32E-EDB5E04D1D53}"/>
          </ac:picMkLst>
        </pc:picChg>
        <pc:picChg chg="add mod">
          <ac:chgData name="Otavio Augusto Sabia Gava" userId="68ac195b-011b-467c-86d4-321df89323d0" providerId="ADAL" clId="{0C687AD9-2800-41E2-AA69-D02ABC7EDD76}" dt="2023-11-29T17:43:48.152" v="28656"/>
          <ac:picMkLst>
            <pc:docMk/>
            <pc:sldMk cId="2246119239" sldId="3033"/>
            <ac:picMk id="10" creationId="{6056270D-2D11-7E8D-DF31-0B52CB44D5F9}"/>
          </ac:picMkLst>
        </pc:picChg>
        <pc:picChg chg="add mod">
          <ac:chgData name="Otavio Augusto Sabia Gava" userId="68ac195b-011b-467c-86d4-321df89323d0" providerId="ADAL" clId="{0C687AD9-2800-41E2-AA69-D02ABC7EDD76}" dt="2023-11-29T17:43:48.152" v="28656"/>
          <ac:picMkLst>
            <pc:docMk/>
            <pc:sldMk cId="2246119239" sldId="3033"/>
            <ac:picMk id="11" creationId="{805E7027-5AFD-7E40-8900-D762D4A17C82}"/>
          </ac:picMkLst>
        </pc:picChg>
        <pc:picChg chg="del mod">
          <ac:chgData name="Otavio Augusto Sabia Gava" userId="68ac195b-011b-467c-86d4-321df89323d0" providerId="ADAL" clId="{0C687AD9-2800-41E2-AA69-D02ABC7EDD76}" dt="2023-11-29T17:41:54.758" v="28645" actId="478"/>
          <ac:picMkLst>
            <pc:docMk/>
            <pc:sldMk cId="2246119239" sldId="3033"/>
            <ac:picMk id="12" creationId="{046F788C-427E-C8F3-66EA-55FBE298ED0B}"/>
          </ac:picMkLst>
        </pc:picChg>
        <pc:picChg chg="add del mod">
          <ac:chgData name="Otavio Augusto Sabia Gava" userId="68ac195b-011b-467c-86d4-321df89323d0" providerId="ADAL" clId="{0C687AD9-2800-41E2-AA69-D02ABC7EDD76}" dt="2023-11-21T17:44:04.524" v="15679"/>
          <ac:picMkLst>
            <pc:docMk/>
            <pc:sldMk cId="2246119239" sldId="3033"/>
            <ac:picMk id="16" creationId="{0F6CBDBF-8C65-9D23-2D43-EC8377D61704}"/>
          </ac:picMkLst>
        </pc:picChg>
        <pc:picChg chg="add mod">
          <ac:chgData name="Otavio Augusto Sabia Gava" userId="68ac195b-011b-467c-86d4-321df89323d0" providerId="ADAL" clId="{0C687AD9-2800-41E2-AA69-D02ABC7EDD76}" dt="2023-11-29T17:43:48.152" v="28656"/>
          <ac:picMkLst>
            <pc:docMk/>
            <pc:sldMk cId="2246119239" sldId="3033"/>
            <ac:picMk id="16" creationId="{69CB78B1-5690-C6A3-8840-DB5D9222E251}"/>
          </ac:picMkLst>
        </pc:picChg>
        <pc:picChg chg="add del mod">
          <ac:chgData name="Otavio Augusto Sabia Gava" userId="68ac195b-011b-467c-86d4-321df89323d0" providerId="ADAL" clId="{0C687AD9-2800-41E2-AA69-D02ABC7EDD76}" dt="2023-11-21T17:44:15.543" v="15683"/>
          <ac:picMkLst>
            <pc:docMk/>
            <pc:sldMk cId="2246119239" sldId="3033"/>
            <ac:picMk id="17" creationId="{E91C0F05-4266-E633-537B-9A69C4B9B206}"/>
          </ac:picMkLst>
        </pc:picChg>
        <pc:picChg chg="add del mod">
          <ac:chgData name="Otavio Augusto Sabia Gava" userId="68ac195b-011b-467c-86d4-321df89323d0" providerId="ADAL" clId="{0C687AD9-2800-41E2-AA69-D02ABC7EDD76}" dt="2023-11-29T17:42:19.983" v="28650" actId="478"/>
          <ac:picMkLst>
            <pc:docMk/>
            <pc:sldMk cId="2246119239" sldId="3033"/>
            <ac:picMk id="18" creationId="{4B0E0AFC-324C-C2E3-76E7-4F2E84B6559F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0" creationId="{B1B62FC5-A5E7-BC85-3B2B-DDC0A9BA615A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1" creationId="{76D76AD4-77BC-234E-4952-7974B9E25173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2" creationId="{6B5F61A8-8074-1E33-89D8-7B74074F551D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3" creationId="{DF810B9A-927A-802E-0D2B-8A591645AB13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4" creationId="{EEE4D978-B5C8-536B-7469-4EE7EF25E1EC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5" creationId="{3811A408-957D-EF30-7ECB-EAF36955115D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6" creationId="{C1FA121C-F4D2-AF21-6F1C-7AE9874C4DDD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7" creationId="{6DF3938E-7A0A-3DBC-CDC5-9178630D5F81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8" creationId="{0270FBF9-EDCA-EE09-CEF6-5D9E1DDE3251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29" creationId="{0D089374-8EA7-19FB-1B3F-D67CF8C31CA9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30" creationId="{E1E42292-3933-9372-901B-B884A3317AA4}"/>
          </ac:picMkLst>
        </pc:picChg>
        <pc:picChg chg="mod">
          <ac:chgData name="Otavio Augusto Sabia Gava" userId="68ac195b-011b-467c-86d4-321df89323d0" providerId="ADAL" clId="{0C687AD9-2800-41E2-AA69-D02ABC7EDD76}" dt="2023-11-21T17:45:18.967" v="15718" actId="1076"/>
          <ac:picMkLst>
            <pc:docMk/>
            <pc:sldMk cId="2246119239" sldId="3033"/>
            <ac:picMk id="31" creationId="{79BFBA0E-FEB0-8857-FFC3-D364EBC8BE2A}"/>
          </ac:picMkLst>
        </pc:picChg>
        <pc:picChg chg="add del mod modCrop">
          <ac:chgData name="Otavio Augusto Sabia Gava" userId="68ac195b-011b-467c-86d4-321df89323d0" providerId="ADAL" clId="{0C687AD9-2800-41E2-AA69-D02ABC7EDD76}" dt="2023-11-29T17:41:52.827" v="28644" actId="478"/>
          <ac:picMkLst>
            <pc:docMk/>
            <pc:sldMk cId="2246119239" sldId="3033"/>
            <ac:picMk id="63" creationId="{D5827BA4-D515-A362-0932-F5FB4B35E178}"/>
          </ac:picMkLst>
        </pc:picChg>
        <pc:picChg chg="del">
          <ac:chgData name="Otavio Augusto Sabia Gava" userId="68ac195b-011b-467c-86d4-321df89323d0" providerId="ADAL" clId="{0C687AD9-2800-41E2-AA69-D02ABC7EDD76}" dt="2023-11-21T17:42:16.238" v="15612" actId="478"/>
          <ac:picMkLst>
            <pc:docMk/>
            <pc:sldMk cId="2246119239" sldId="3033"/>
            <ac:picMk id="90" creationId="{A307619D-7E7E-9AF2-AC93-1D1D7315D7E7}"/>
          </ac:picMkLst>
        </pc:pic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3" creationId="{F769F939-5087-D97D-3256-77DB8678CE2A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4" creationId="{843AD8AB-9C14-91CF-186D-BC18854084A3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5" creationId="{CC883DE8-CA47-5CDF-0C74-CF749D5218C2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6" creationId="{C593B40F-6500-8C95-E0A5-9E8CD21C692F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8" creationId="{3D2D4FF7-B03C-A526-9FCD-93ACDC99AF7A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39" creationId="{EF82AE67-6613-D181-FF86-96FB9E4A1722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40" creationId="{21096B9A-20FF-6CF2-A18A-7B9001546754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41" creationId="{1EBE5578-9F6E-A6F3-16D3-31C6D840FA9E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42" creationId="{267F10F2-3928-41D4-673C-B40D1FF64E4F}"/>
          </ac:cxnSpMkLst>
        </pc:cxnChg>
        <pc:cxnChg chg="add del mod">
          <ac:chgData name="Otavio Augusto Sabia Gava" userId="68ac195b-011b-467c-86d4-321df89323d0" providerId="ADAL" clId="{0C687AD9-2800-41E2-AA69-D02ABC7EDD76}" dt="2023-11-21T17:45:20.034" v="15719"/>
          <ac:cxnSpMkLst>
            <pc:docMk/>
            <pc:sldMk cId="2246119239" sldId="3033"/>
            <ac:cxnSpMk id="43" creationId="{4A27552C-BE08-D276-2E63-99E2184BA29A}"/>
          </ac:cxnSpMkLst>
        </pc:cxn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4101801909" sldId="3034"/>
        </pc:sldMkLst>
        <pc:spChg chg="del">
          <ac:chgData name="Otavio Augusto Sabia Gava" userId="68ac195b-011b-467c-86d4-321df89323d0" providerId="ADAL" clId="{0C687AD9-2800-41E2-AA69-D02ABC7EDD76}" dt="2023-11-21T18:05:19.824" v="16203" actId="478"/>
          <ac:spMkLst>
            <pc:docMk/>
            <pc:sldMk cId="4101801909" sldId="3034"/>
            <ac:spMk id="2" creationId="{D4D08C8E-867B-145B-ED78-BD726DF932F8}"/>
          </ac:spMkLst>
        </pc:spChg>
        <pc:spChg chg="add del mod">
          <ac:chgData name="Otavio Augusto Sabia Gava" userId="68ac195b-011b-467c-86d4-321df89323d0" providerId="ADAL" clId="{0C687AD9-2800-41E2-AA69-D02ABC7EDD76}" dt="2023-11-21T18:07:28.046" v="16314" actId="1036"/>
          <ac:spMkLst>
            <pc:docMk/>
            <pc:sldMk cId="4101801909" sldId="3034"/>
            <ac:spMk id="3" creationId="{658DF1D7-55B3-2ED2-FE26-57CF82EA1404}"/>
          </ac:spMkLst>
        </pc:spChg>
        <pc:spChg chg="add mod">
          <ac:chgData name="Otavio Augusto Sabia Gava" userId="68ac195b-011b-467c-86d4-321df89323d0" providerId="ADAL" clId="{0C687AD9-2800-41E2-AA69-D02ABC7EDD76}" dt="2023-11-30T14:46:39.997" v="29929" actId="207"/>
          <ac:spMkLst>
            <pc:docMk/>
            <pc:sldMk cId="4101801909" sldId="3034"/>
            <ac:spMk id="4" creationId="{097D71B2-8A51-B94D-3AB5-B79DF4BC2AFB}"/>
          </ac:spMkLst>
        </pc:spChg>
        <pc:spChg chg="mod">
          <ac:chgData name="Otavio Augusto Sabia Gava" userId="68ac195b-011b-467c-86d4-321df89323d0" providerId="ADAL" clId="{0C687AD9-2800-41E2-AA69-D02ABC7EDD76}" dt="2023-11-30T14:00:37.277" v="28969" actId="20577"/>
          <ac:spMkLst>
            <pc:docMk/>
            <pc:sldMk cId="4101801909" sldId="3034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1T18:23:34.705" v="16734" actId="1036"/>
          <ac:spMkLst>
            <pc:docMk/>
            <pc:sldMk cId="4101801909" sldId="3034"/>
            <ac:spMk id="6" creationId="{327FB2D6-5CFF-F703-6DB0-B29B5DB57487}"/>
          </ac:spMkLst>
        </pc:spChg>
        <pc:spChg chg="del">
          <ac:chgData name="Otavio Augusto Sabia Gava" userId="68ac195b-011b-467c-86d4-321df89323d0" providerId="ADAL" clId="{0C687AD9-2800-41E2-AA69-D02ABC7EDD76}" dt="2023-11-21T18:05:19.824" v="16203" actId="478"/>
          <ac:spMkLst>
            <pc:docMk/>
            <pc:sldMk cId="4101801909" sldId="3034"/>
            <ac:spMk id="7" creationId="{CE86A0E1-5542-CC1F-48ED-315AAAE38660}"/>
          </ac:spMkLst>
        </pc:spChg>
        <pc:spChg chg="add mod">
          <ac:chgData name="Otavio Augusto Sabia Gava" userId="68ac195b-011b-467c-86d4-321df89323d0" providerId="ADAL" clId="{0C687AD9-2800-41E2-AA69-D02ABC7EDD76}" dt="2023-11-30T14:46:45.244" v="29931" actId="207"/>
          <ac:spMkLst>
            <pc:docMk/>
            <pc:sldMk cId="4101801909" sldId="3034"/>
            <ac:spMk id="8" creationId="{565C0E27-E225-55FF-9E51-66EE7CA2A3BB}"/>
          </ac:spMkLst>
        </pc:spChg>
        <pc:spChg chg="del">
          <ac:chgData name="Otavio Augusto Sabia Gava" userId="68ac195b-011b-467c-86d4-321df89323d0" providerId="ADAL" clId="{0C687AD9-2800-41E2-AA69-D02ABC7EDD76}" dt="2023-11-21T18:05:21.610" v="16204" actId="478"/>
          <ac:spMkLst>
            <pc:docMk/>
            <pc:sldMk cId="4101801909" sldId="3034"/>
            <ac:spMk id="9" creationId="{219B05DE-8353-1F7C-CE2D-7B655E46E20C}"/>
          </ac:spMkLst>
        </pc:spChg>
        <pc:spChg chg="add mod">
          <ac:chgData name="Otavio Augusto Sabia Gava" userId="68ac195b-011b-467c-86d4-321df89323d0" providerId="ADAL" clId="{0C687AD9-2800-41E2-AA69-D02ABC7EDD76}" dt="2023-11-21T18:19:56.243" v="16493" actId="113"/>
          <ac:spMkLst>
            <pc:docMk/>
            <pc:sldMk cId="4101801909" sldId="3034"/>
            <ac:spMk id="10" creationId="{97A1EC31-01B4-4244-BFFF-8427A1D31282}"/>
          </ac:spMkLst>
        </pc:spChg>
        <pc:spChg chg="add mod">
          <ac:chgData name="Otavio Augusto Sabia Gava" userId="68ac195b-011b-467c-86d4-321df89323d0" providerId="ADAL" clId="{0C687AD9-2800-41E2-AA69-D02ABC7EDD76}" dt="2023-11-30T14:46:43.483" v="29930" actId="207"/>
          <ac:spMkLst>
            <pc:docMk/>
            <pc:sldMk cId="4101801909" sldId="3034"/>
            <ac:spMk id="11" creationId="{A49B595F-2992-DFED-9F34-80D100585E07}"/>
          </ac:spMkLst>
        </pc:spChg>
        <pc:spChg chg="del">
          <ac:chgData name="Otavio Augusto Sabia Gava" userId="68ac195b-011b-467c-86d4-321df89323d0" providerId="ADAL" clId="{0C687AD9-2800-41E2-AA69-D02ABC7EDD76}" dt="2023-11-21T18:05:21.610" v="16204" actId="478"/>
          <ac:spMkLst>
            <pc:docMk/>
            <pc:sldMk cId="4101801909" sldId="3034"/>
            <ac:spMk id="13" creationId="{15C3AB58-C706-FB73-E980-D688343516C2}"/>
          </ac:spMkLst>
        </pc:spChg>
        <pc:spChg chg="del">
          <ac:chgData name="Otavio Augusto Sabia Gava" userId="68ac195b-011b-467c-86d4-321df89323d0" providerId="ADAL" clId="{0C687AD9-2800-41E2-AA69-D02ABC7EDD76}" dt="2023-11-21T18:05:19.824" v="16203" actId="478"/>
          <ac:spMkLst>
            <pc:docMk/>
            <pc:sldMk cId="4101801909" sldId="3034"/>
            <ac:spMk id="14" creationId="{F1E8D39C-D7F9-8099-7A12-68FE1F572897}"/>
          </ac:spMkLst>
        </pc:spChg>
        <pc:spChg chg="del">
          <ac:chgData name="Otavio Augusto Sabia Gava" userId="68ac195b-011b-467c-86d4-321df89323d0" providerId="ADAL" clId="{0C687AD9-2800-41E2-AA69-D02ABC7EDD76}" dt="2023-11-21T18:05:19.824" v="16203" actId="478"/>
          <ac:spMkLst>
            <pc:docMk/>
            <pc:sldMk cId="4101801909" sldId="3034"/>
            <ac:spMk id="15" creationId="{9FC6F174-98A9-C2AF-4C1A-A3335B82659A}"/>
          </ac:spMkLst>
        </pc:spChg>
        <pc:picChg chg="del">
          <ac:chgData name="Otavio Augusto Sabia Gava" userId="68ac195b-011b-467c-86d4-321df89323d0" providerId="ADAL" clId="{0C687AD9-2800-41E2-AA69-D02ABC7EDD76}" dt="2023-11-21T18:05:21.610" v="16204" actId="478"/>
          <ac:picMkLst>
            <pc:docMk/>
            <pc:sldMk cId="4101801909" sldId="3034"/>
            <ac:picMk id="12" creationId="{046F788C-427E-C8F3-66EA-55FBE298ED0B}"/>
          </ac:picMkLst>
        </pc:picChg>
        <pc:picChg chg="mod">
          <ac:chgData name="Otavio Augusto Sabia Gava" userId="68ac195b-011b-467c-86d4-321df89323d0" providerId="ADAL" clId="{0C687AD9-2800-41E2-AA69-D02ABC7EDD76}" dt="2023-11-21T18:23:47.478" v="16735"/>
          <ac:picMkLst>
            <pc:docMk/>
            <pc:sldMk cId="4101801909" sldId="3034"/>
            <ac:picMk id="18" creationId="{4B0E0AFC-324C-C2E3-76E7-4F2E84B6559F}"/>
          </ac:picMkLst>
        </pc:picChg>
        <pc:picChg chg="del">
          <ac:chgData name="Otavio Augusto Sabia Gava" userId="68ac195b-011b-467c-86d4-321df89323d0" providerId="ADAL" clId="{0C687AD9-2800-41E2-AA69-D02ABC7EDD76}" dt="2023-11-21T18:05:19.824" v="16203" actId="478"/>
          <ac:picMkLst>
            <pc:docMk/>
            <pc:sldMk cId="4101801909" sldId="3034"/>
            <ac:picMk id="63" creationId="{D5827BA4-D515-A362-0932-F5FB4B35E178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29T18:34:55.741" v="28764" actId="47"/>
        <pc:sldMkLst>
          <pc:docMk/>
          <pc:sldMk cId="209523148" sldId="3035"/>
        </pc:sldMkLst>
        <pc:spChg chg="add mod">
          <ac:chgData name="Otavio Augusto Sabia Gava" userId="68ac195b-011b-467c-86d4-321df89323d0" providerId="ADAL" clId="{0C687AD9-2800-41E2-AA69-D02ABC7EDD76}" dt="2023-11-21T18:28:17.217" v="16880" actId="113"/>
          <ac:spMkLst>
            <pc:docMk/>
            <pc:sldMk cId="209523148" sldId="3035"/>
            <ac:spMk id="3" creationId="{4A5472BE-E21E-B017-23C4-B1B4546F2CD7}"/>
          </ac:spMkLst>
        </pc:spChg>
        <pc:spChg chg="add mod">
          <ac:chgData name="Otavio Augusto Sabia Gava" userId="68ac195b-011b-467c-86d4-321df89323d0" providerId="ADAL" clId="{0C687AD9-2800-41E2-AA69-D02ABC7EDD76}" dt="2023-11-21T18:26:35.059" v="16832" actId="1036"/>
          <ac:spMkLst>
            <pc:docMk/>
            <pc:sldMk cId="209523148" sldId="3035"/>
            <ac:spMk id="4" creationId="{0EC6351F-9C84-E6A0-2281-03EFEC48F623}"/>
          </ac:spMkLst>
        </pc:spChg>
        <pc:spChg chg="add mod">
          <ac:chgData name="Otavio Augusto Sabia Gava" userId="68ac195b-011b-467c-86d4-321df89323d0" providerId="ADAL" clId="{0C687AD9-2800-41E2-AA69-D02ABC7EDD76}" dt="2023-11-27T18:38:27.193" v="19211" actId="113"/>
          <ac:spMkLst>
            <pc:docMk/>
            <pc:sldMk cId="209523148" sldId="3035"/>
            <ac:spMk id="6" creationId="{94795DE4-A1F2-7587-0F5C-474BC353C8A7}"/>
          </ac:spMkLst>
        </pc:spChg>
        <pc:spChg chg="add mod">
          <ac:chgData name="Otavio Augusto Sabia Gava" userId="68ac195b-011b-467c-86d4-321df89323d0" providerId="ADAL" clId="{0C687AD9-2800-41E2-AA69-D02ABC7EDD76}" dt="2023-11-21T18:26:46.896" v="16858" actId="1035"/>
          <ac:spMkLst>
            <pc:docMk/>
            <pc:sldMk cId="209523148" sldId="3035"/>
            <ac:spMk id="8" creationId="{334AB195-7227-5350-8760-D56EA273208B}"/>
          </ac:spMkLst>
        </pc:spChg>
        <pc:spChg chg="add mod">
          <ac:chgData name="Otavio Augusto Sabia Gava" userId="68ac195b-011b-467c-86d4-321df89323d0" providerId="ADAL" clId="{0C687AD9-2800-41E2-AA69-D02ABC7EDD76}" dt="2023-11-21T18:30:08.552" v="16890" actId="113"/>
          <ac:spMkLst>
            <pc:docMk/>
            <pc:sldMk cId="209523148" sldId="3035"/>
            <ac:spMk id="10" creationId="{0555E82B-8B32-5812-CE3A-5F15FA7C5169}"/>
          </ac:spMkLst>
        </pc:spChg>
        <pc:spChg chg="add mod">
          <ac:chgData name="Otavio Augusto Sabia Gava" userId="68ac195b-011b-467c-86d4-321df89323d0" providerId="ADAL" clId="{0C687AD9-2800-41E2-AA69-D02ABC7EDD76}" dt="2023-11-21T18:26:43.820" v="16853" actId="1036"/>
          <ac:spMkLst>
            <pc:docMk/>
            <pc:sldMk cId="209523148" sldId="3035"/>
            <ac:spMk id="11" creationId="{1B13FBB4-688C-536F-6025-57D451DA4759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25" creationId="{3EF9A1C7-2AAA-FDF7-D59D-75BCFC78F306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38" creationId="{DB69E4C5-C893-3A58-1AE9-D6332AB927F8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40" creationId="{E985372E-FD86-09B8-2D3B-3623753F841B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45" creationId="{E2844B45-5060-3800-B3B4-BEE4B6D7823F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51" creationId="{6B06994A-70C3-6DBF-E8AB-3208FF5A6306}"/>
          </ac:spMkLst>
        </pc:spChg>
        <pc:spChg chg="del">
          <ac:chgData name="Otavio Augusto Sabia Gava" userId="68ac195b-011b-467c-86d4-321df89323d0" providerId="ADAL" clId="{0C687AD9-2800-41E2-AA69-D02ABC7EDD76}" dt="2023-11-21T18:25:47.124" v="16759" actId="478"/>
          <ac:spMkLst>
            <pc:docMk/>
            <pc:sldMk cId="209523148" sldId="3035"/>
            <ac:spMk id="54" creationId="{2A3C95F4-B2FB-994B-D2C9-8E8396D8859C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56" creationId="{DED73B5E-C676-8018-5598-79984A586F9C}"/>
          </ac:spMkLst>
        </pc:spChg>
        <pc:spChg chg="del">
          <ac:chgData name="Otavio Augusto Sabia Gava" userId="68ac195b-011b-467c-86d4-321df89323d0" providerId="ADAL" clId="{0C687AD9-2800-41E2-AA69-D02ABC7EDD76}" dt="2023-11-21T18:25:45.583" v="16758" actId="478"/>
          <ac:spMkLst>
            <pc:docMk/>
            <pc:sldMk cId="209523148" sldId="3035"/>
            <ac:spMk id="62" creationId="{B5DBFF4C-CF5D-AD2E-E28C-5FB1164013F1}"/>
          </ac:spMkLst>
        </pc:spChg>
        <pc:grpChg chg="del">
          <ac:chgData name="Otavio Augusto Sabia Gava" userId="68ac195b-011b-467c-86d4-321df89323d0" providerId="ADAL" clId="{0C687AD9-2800-41E2-AA69-D02ABC7EDD76}" dt="2023-11-21T18:25:47.124" v="16759" actId="478"/>
          <ac:grpSpMkLst>
            <pc:docMk/>
            <pc:sldMk cId="209523148" sldId="3035"/>
            <ac:grpSpMk id="2" creationId="{B7667BB9-8488-2757-81F7-457BB99ADDA0}"/>
          </ac:grpSpMkLst>
        </pc:grpChg>
        <pc:grpChg chg="del">
          <ac:chgData name="Otavio Augusto Sabia Gava" userId="68ac195b-011b-467c-86d4-321df89323d0" providerId="ADAL" clId="{0C687AD9-2800-41E2-AA69-D02ABC7EDD76}" dt="2023-11-21T18:25:45.583" v="16758" actId="478"/>
          <ac:grpSpMkLst>
            <pc:docMk/>
            <pc:sldMk cId="209523148" sldId="3035"/>
            <ac:grpSpMk id="13" creationId="{857E4F56-0A95-0669-CAE5-E875392B435D}"/>
          </ac:grpSpMkLst>
        </pc:grpChg>
        <pc:grpChg chg="del">
          <ac:chgData name="Otavio Augusto Sabia Gava" userId="68ac195b-011b-467c-86d4-321df89323d0" providerId="ADAL" clId="{0C687AD9-2800-41E2-AA69-D02ABC7EDD76}" dt="2023-11-21T18:25:45.583" v="16758" actId="478"/>
          <ac:grpSpMkLst>
            <pc:docMk/>
            <pc:sldMk cId="209523148" sldId="3035"/>
            <ac:grpSpMk id="65" creationId="{515A8D72-D489-596A-BF23-EEE08316C7C5}"/>
          </ac:grpSpMkLst>
        </pc:grpChg>
        <pc:picChg chg="add mod">
          <ac:chgData name="Otavio Augusto Sabia Gava" userId="68ac195b-011b-467c-86d4-321df89323d0" providerId="ADAL" clId="{0C687AD9-2800-41E2-AA69-D02ABC7EDD76}" dt="2023-11-21T18:27:03.006" v="16860"/>
          <ac:picMkLst>
            <pc:docMk/>
            <pc:sldMk cId="209523148" sldId="3035"/>
            <ac:picMk id="12" creationId="{D07D1E0C-061E-A945-BD86-D31AA995433C}"/>
          </ac:picMkLst>
        </pc:picChg>
        <pc:picChg chg="add del mod">
          <ac:chgData name="Otavio Augusto Sabia Gava" userId="68ac195b-011b-467c-86d4-321df89323d0" providerId="ADAL" clId="{0C687AD9-2800-41E2-AA69-D02ABC7EDD76}" dt="2023-11-21T18:27:34.962" v="16862"/>
          <ac:picMkLst>
            <pc:docMk/>
            <pc:sldMk cId="209523148" sldId="3035"/>
            <ac:picMk id="14" creationId="{9CD30D65-BD36-0DC7-12FB-BDD48F75545F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36" creationId="{D6619126-445B-E463-028C-E219D0A9F509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41" creationId="{89C925BA-7BBC-50BB-52D4-756F4DE44A21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42" creationId="{54EACB8F-0CF8-1597-5D75-D1B849EF695A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49" creationId="{E2D18E05-3269-276D-83F1-DE9BFAEEDE16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57" creationId="{59709516-FC97-331C-74C0-D2D069868834}"/>
          </ac:picMkLst>
        </pc:picChg>
        <pc:picChg chg="del">
          <ac:chgData name="Otavio Augusto Sabia Gava" userId="68ac195b-011b-467c-86d4-321df89323d0" providerId="ADAL" clId="{0C687AD9-2800-41E2-AA69-D02ABC7EDD76}" dt="2023-11-21T18:25:47.124" v="16759" actId="478"/>
          <ac:picMkLst>
            <pc:docMk/>
            <pc:sldMk cId="209523148" sldId="3035"/>
            <ac:picMk id="59" creationId="{FB8399F3-BE3A-0539-094B-F2B1CC88A369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64" creationId="{53E91D38-3044-2066-015B-CA9D93A33B75}"/>
          </ac:picMkLst>
        </pc:picChg>
        <pc:picChg chg="del">
          <ac:chgData name="Otavio Augusto Sabia Gava" userId="68ac195b-011b-467c-86d4-321df89323d0" providerId="ADAL" clId="{0C687AD9-2800-41E2-AA69-D02ABC7EDD76}" dt="2023-11-21T18:25:45.583" v="16758" actId="478"/>
          <ac:picMkLst>
            <pc:docMk/>
            <pc:sldMk cId="209523148" sldId="3035"/>
            <ac:picMk id="70" creationId="{98446ECB-E0FA-FE1F-1970-496292776FDB}"/>
          </ac:picMkLst>
        </pc:picChg>
        <pc:picChg chg="del">
          <ac:chgData name="Otavio Augusto Sabia Gava" userId="68ac195b-011b-467c-86d4-321df89323d0" providerId="ADAL" clId="{0C687AD9-2800-41E2-AA69-D02ABC7EDD76}" dt="2023-11-21T18:27:02.832" v="16859" actId="478"/>
          <ac:picMkLst>
            <pc:docMk/>
            <pc:sldMk cId="209523148" sldId="3035"/>
            <ac:picMk id="90" creationId="{A307619D-7E7E-9AF2-AC93-1D1D7315D7E7}"/>
          </ac:picMkLst>
        </pc:pic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26" creationId="{67DEEEE0-D83F-2BC3-2BFC-024FB63A33AF}"/>
          </ac:cxnSpMkLst>
        </pc:cxnChg>
        <pc:cxnChg chg="del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37" creationId="{6AC1C71E-DC6B-2685-81CD-C00259E4CEA3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39" creationId="{309646FC-0B5A-2C69-9971-D6BCD54300BE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43" creationId="{7DB5CAD2-FE2D-0535-354A-C36A9D37EC2A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44" creationId="{1AA6F98A-2BEA-B6BC-A49D-2CC0738543C7}"/>
          </ac:cxnSpMkLst>
        </pc:cxnChg>
        <pc:cxnChg chg="del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46" creationId="{4CBF3436-1C9C-746B-1DD9-C2B888FD9449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47" creationId="{66244ED4-A691-8F1B-F3D8-1C9BDFEBB322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48" creationId="{4ACABEF3-2AF1-8708-A9D1-C50CF240C415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50" creationId="{FC4C0829-0F26-47FF-8C0A-B0D2747C817C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52" creationId="{3A5A12C4-C37A-4E2E-59AA-A2AA9D4C4481}"/>
          </ac:cxnSpMkLst>
        </pc:cxnChg>
        <pc:cxnChg chg="del mod">
          <ac:chgData name="Otavio Augusto Sabia Gava" userId="68ac195b-011b-467c-86d4-321df89323d0" providerId="ADAL" clId="{0C687AD9-2800-41E2-AA69-D02ABC7EDD76}" dt="2023-11-21T18:25:47.124" v="16759" actId="478"/>
          <ac:cxnSpMkLst>
            <pc:docMk/>
            <pc:sldMk cId="209523148" sldId="3035"/>
            <ac:cxnSpMk id="53" creationId="{656A0930-3AAA-A0F7-438F-4F51E72DF7B4}"/>
          </ac:cxnSpMkLst>
        </pc:cxnChg>
        <pc:cxnChg chg="del mod">
          <ac:chgData name="Otavio Augusto Sabia Gava" userId="68ac195b-011b-467c-86d4-321df89323d0" providerId="ADAL" clId="{0C687AD9-2800-41E2-AA69-D02ABC7EDD76}" dt="2023-11-21T18:25:47.124" v="16759" actId="478"/>
          <ac:cxnSpMkLst>
            <pc:docMk/>
            <pc:sldMk cId="209523148" sldId="3035"/>
            <ac:cxnSpMk id="55" creationId="{22BC17CD-0D60-07DD-9E88-0DE481CC5A0B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58" creationId="{1B115969-F521-BD4C-6436-5D2E8902399A}"/>
          </ac:cxnSpMkLst>
        </pc:cxnChg>
        <pc:cxnChg chg="del mod">
          <ac:chgData name="Otavio Augusto Sabia Gava" userId="68ac195b-011b-467c-86d4-321df89323d0" providerId="ADAL" clId="{0C687AD9-2800-41E2-AA69-D02ABC7EDD76}" dt="2023-11-21T18:25:47.124" v="16759" actId="478"/>
          <ac:cxnSpMkLst>
            <pc:docMk/>
            <pc:sldMk cId="209523148" sldId="3035"/>
            <ac:cxnSpMk id="60" creationId="{E9C9A890-31C9-D7C3-1725-9F7E0BEA8990}"/>
          </ac:cxnSpMkLst>
        </pc:cxnChg>
        <pc:cxnChg chg="del mod">
          <ac:chgData name="Otavio Augusto Sabia Gava" userId="68ac195b-011b-467c-86d4-321df89323d0" providerId="ADAL" clId="{0C687AD9-2800-41E2-AA69-D02ABC7EDD76}" dt="2023-11-21T18:25:47.124" v="16759" actId="478"/>
          <ac:cxnSpMkLst>
            <pc:docMk/>
            <pc:sldMk cId="209523148" sldId="3035"/>
            <ac:cxnSpMk id="61" creationId="{B3C693B2-79B8-09B4-DBDC-A8F0003A5EE9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63" creationId="{482A9C29-C737-C264-9A4C-707E6D02B5E8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68" creationId="{448AE258-75A4-A497-EF62-EB2E4D2755E5}"/>
          </ac:cxnSpMkLst>
        </pc:cxnChg>
        <pc:cxnChg chg="del mod">
          <ac:chgData name="Otavio Augusto Sabia Gava" userId="68ac195b-011b-467c-86d4-321df89323d0" providerId="ADAL" clId="{0C687AD9-2800-41E2-AA69-D02ABC7EDD76}" dt="2023-11-21T18:25:45.583" v="16758" actId="478"/>
          <ac:cxnSpMkLst>
            <pc:docMk/>
            <pc:sldMk cId="209523148" sldId="3035"/>
            <ac:cxnSpMk id="69" creationId="{D468B46E-E699-A323-B2C2-98DDFD1A2195}"/>
          </ac:cxnSpMkLst>
        </pc:cxnChg>
      </pc:sldChg>
      <pc:sldChg chg="addSp delSp modSp add del mod ord">
        <pc:chgData name="Otavio Augusto Sabia Gava" userId="68ac195b-011b-467c-86d4-321df89323d0" providerId="ADAL" clId="{0C687AD9-2800-41E2-AA69-D02ABC7EDD76}" dt="2023-11-29T18:36:32.968" v="28769" actId="47"/>
        <pc:sldMkLst>
          <pc:docMk/>
          <pc:sldMk cId="2223022825" sldId="3036"/>
        </pc:sldMkLst>
        <pc:spChg chg="mod">
          <ac:chgData name="Otavio Augusto Sabia Gava" userId="68ac195b-011b-467c-86d4-321df89323d0" providerId="ADAL" clId="{0C687AD9-2800-41E2-AA69-D02ABC7EDD76}" dt="2023-11-28T18:13:14.131" v="19914" actId="13926"/>
          <ac:spMkLst>
            <pc:docMk/>
            <pc:sldMk cId="2223022825" sldId="3036"/>
            <ac:spMk id="3" creationId="{48D5C4C5-3A8C-8AEB-B623-B39BF77DBD24}"/>
          </ac:spMkLst>
        </pc:spChg>
        <pc:spChg chg="mod">
          <ac:chgData name="Otavio Augusto Sabia Gava" userId="68ac195b-011b-467c-86d4-321df89323d0" providerId="ADAL" clId="{0C687AD9-2800-41E2-AA69-D02ABC7EDD76}" dt="2023-11-27T12:03:24.232" v="17139" actId="20577"/>
          <ac:spMkLst>
            <pc:docMk/>
            <pc:sldMk cId="2223022825" sldId="3036"/>
            <ac:spMk id="5" creationId="{691BD817-ED31-4962-832B-1254437B69A3}"/>
          </ac:spMkLst>
        </pc:spChg>
        <pc:spChg chg="mod">
          <ac:chgData name="Otavio Augusto Sabia Gava" userId="68ac195b-011b-467c-86d4-321df89323d0" providerId="ADAL" clId="{0C687AD9-2800-41E2-AA69-D02ABC7EDD76}" dt="2023-11-28T18:10:16.267" v="19913" actId="1035"/>
          <ac:spMkLst>
            <pc:docMk/>
            <pc:sldMk cId="2223022825" sldId="3036"/>
            <ac:spMk id="16" creationId="{5054D865-64A9-5590-A391-96C8557BB5FF}"/>
          </ac:spMkLst>
        </pc:spChg>
        <pc:spChg chg="mod">
          <ac:chgData name="Otavio Augusto Sabia Gava" userId="68ac195b-011b-467c-86d4-321df89323d0" providerId="ADAL" clId="{0C687AD9-2800-41E2-AA69-D02ABC7EDD76}" dt="2023-11-27T12:15:52.829" v="17826" actId="113"/>
          <ac:spMkLst>
            <pc:docMk/>
            <pc:sldMk cId="2223022825" sldId="3036"/>
            <ac:spMk id="17" creationId="{A3E412C1-241A-D9C6-3CD5-7F5AECA30CAE}"/>
          </ac:spMkLst>
        </pc:spChg>
        <pc:spChg chg="mod">
          <ac:chgData name="Otavio Augusto Sabia Gava" userId="68ac195b-011b-467c-86d4-321df89323d0" providerId="ADAL" clId="{0C687AD9-2800-41E2-AA69-D02ABC7EDD76}" dt="2023-11-27T12:28:58.005" v="18103" actId="113"/>
          <ac:spMkLst>
            <pc:docMk/>
            <pc:sldMk cId="2223022825" sldId="3036"/>
            <ac:spMk id="18" creationId="{1ADA1330-071F-04C5-198C-0F7D46D802D1}"/>
          </ac:spMkLst>
        </pc:spChg>
        <pc:spChg chg="mod">
          <ac:chgData name="Otavio Augusto Sabia Gava" userId="68ac195b-011b-467c-86d4-321df89323d0" providerId="ADAL" clId="{0C687AD9-2800-41E2-AA69-D02ABC7EDD76}" dt="2023-11-27T12:30:59.938" v="18408" actId="113"/>
          <ac:spMkLst>
            <pc:docMk/>
            <pc:sldMk cId="2223022825" sldId="3036"/>
            <ac:spMk id="19" creationId="{72C8E966-B429-3310-6172-B48B5DDB5C2E}"/>
          </ac:spMkLst>
        </pc:spChg>
        <pc:spChg chg="mod">
          <ac:chgData name="Otavio Augusto Sabia Gava" userId="68ac195b-011b-467c-86d4-321df89323d0" providerId="ADAL" clId="{0C687AD9-2800-41E2-AA69-D02ABC7EDD76}" dt="2023-11-28T18:18:18.499" v="19920" actId="20577"/>
          <ac:spMkLst>
            <pc:docMk/>
            <pc:sldMk cId="2223022825" sldId="3036"/>
            <ac:spMk id="21" creationId="{3731A43B-B979-1D61-F8AC-FF10B4F30A39}"/>
          </ac:spMkLst>
        </pc:spChg>
        <pc:spChg chg="mod">
          <ac:chgData name="Otavio Augusto Sabia Gava" userId="68ac195b-011b-467c-86d4-321df89323d0" providerId="ADAL" clId="{0C687AD9-2800-41E2-AA69-D02ABC7EDD76}" dt="2023-11-27T14:16:16.041" v="19066" actId="20577"/>
          <ac:spMkLst>
            <pc:docMk/>
            <pc:sldMk cId="2223022825" sldId="3036"/>
            <ac:spMk id="32" creationId="{8AC3EF9D-5D22-8EF4-F021-D03C46654570}"/>
          </ac:spMkLst>
        </pc:spChg>
        <pc:spChg chg="mod">
          <ac:chgData name="Otavio Augusto Sabia Gava" userId="68ac195b-011b-467c-86d4-321df89323d0" providerId="ADAL" clId="{0C687AD9-2800-41E2-AA69-D02ABC7EDD76}" dt="2023-11-27T14:17:06.035" v="19095" actId="20577"/>
          <ac:spMkLst>
            <pc:docMk/>
            <pc:sldMk cId="2223022825" sldId="3036"/>
            <ac:spMk id="33" creationId="{84F2FCC9-34B4-4DF9-3618-E1E6CA399800}"/>
          </ac:spMkLst>
        </pc:spChg>
        <pc:spChg chg="mod">
          <ac:chgData name="Otavio Augusto Sabia Gava" userId="68ac195b-011b-467c-86d4-321df89323d0" providerId="ADAL" clId="{0C687AD9-2800-41E2-AA69-D02ABC7EDD76}" dt="2023-11-27T14:07:44.069" v="19053" actId="113"/>
          <ac:spMkLst>
            <pc:docMk/>
            <pc:sldMk cId="2223022825" sldId="3036"/>
            <ac:spMk id="34" creationId="{888E0732-CA1D-0B6A-5A87-F5D77BD6E7C1}"/>
          </ac:spMkLst>
        </pc:spChg>
        <pc:spChg chg="mod">
          <ac:chgData name="Otavio Augusto Sabia Gava" userId="68ac195b-011b-467c-86d4-321df89323d0" providerId="ADAL" clId="{0C687AD9-2800-41E2-AA69-D02ABC7EDD76}" dt="2023-11-27T14:05:41.816" v="18925" actId="20577"/>
          <ac:spMkLst>
            <pc:docMk/>
            <pc:sldMk cId="2223022825" sldId="3036"/>
            <ac:spMk id="35" creationId="{DE2A735B-3016-B5A5-4E3D-4CF16AC331C3}"/>
          </ac:spMkLst>
        </pc:spChg>
        <pc:picChg chg="del">
          <ac:chgData name="Otavio Augusto Sabia Gava" userId="68ac195b-011b-467c-86d4-321df89323d0" providerId="ADAL" clId="{0C687AD9-2800-41E2-AA69-D02ABC7EDD76}" dt="2023-11-27T12:01:52.523" v="16995" actId="478"/>
          <ac:picMkLst>
            <pc:docMk/>
            <pc:sldMk cId="2223022825" sldId="3036"/>
            <ac:picMk id="15" creationId="{53D7601F-788D-E63F-A9BF-6AA9A3D28640}"/>
          </ac:picMkLst>
        </pc:picChg>
        <pc:picChg chg="add mod">
          <ac:chgData name="Otavio Augusto Sabia Gava" userId="68ac195b-011b-467c-86d4-321df89323d0" providerId="ADAL" clId="{0C687AD9-2800-41E2-AA69-D02ABC7EDD76}" dt="2023-11-27T12:01:52.812" v="16996"/>
          <ac:picMkLst>
            <pc:docMk/>
            <pc:sldMk cId="2223022825" sldId="3036"/>
            <ac:picMk id="31" creationId="{853A7E21-93CB-18C0-74E2-CAE161CE5454}"/>
          </ac:picMkLst>
        </pc:picChg>
        <pc:picChg chg="mod">
          <ac:chgData name="Otavio Augusto Sabia Gava" userId="68ac195b-011b-467c-86d4-321df89323d0" providerId="ADAL" clId="{0C687AD9-2800-41E2-AA69-D02ABC7EDD76}" dt="2023-11-27T12:14:24.128" v="17681"/>
          <ac:picMkLst>
            <pc:docMk/>
            <pc:sldMk cId="2223022825" sldId="3036"/>
            <ac:picMk id="36" creationId="{A4C3C829-9152-AEC0-6B21-572A37CC04B4}"/>
          </ac:picMkLst>
        </pc:picChg>
        <pc:picChg chg="del">
          <ac:chgData name="Otavio Augusto Sabia Gava" userId="68ac195b-011b-467c-86d4-321df89323d0" providerId="ADAL" clId="{0C687AD9-2800-41E2-AA69-D02ABC7EDD76}" dt="2023-11-27T12:14:30.715" v="17682" actId="478"/>
          <ac:picMkLst>
            <pc:docMk/>
            <pc:sldMk cId="2223022825" sldId="3036"/>
            <ac:picMk id="37" creationId="{95402AD2-37E2-3CCC-2B9A-65ADB5BA3229}"/>
          </ac:picMkLst>
        </pc:picChg>
        <pc:picChg chg="add mod">
          <ac:chgData name="Otavio Augusto Sabia Gava" userId="68ac195b-011b-467c-86d4-321df89323d0" providerId="ADAL" clId="{0C687AD9-2800-41E2-AA69-D02ABC7EDD76}" dt="2023-11-27T12:02:47.942" v="17075"/>
          <ac:picMkLst>
            <pc:docMk/>
            <pc:sldMk cId="2223022825" sldId="3036"/>
            <ac:picMk id="38" creationId="{EC875DD3-C3E4-3392-BF7B-CBA339746FC4}"/>
          </ac:picMkLst>
        </pc:picChg>
        <pc:picChg chg="del">
          <ac:chgData name="Otavio Augusto Sabia Gava" userId="68ac195b-011b-467c-86d4-321df89323d0" providerId="ADAL" clId="{0C687AD9-2800-41E2-AA69-D02ABC7EDD76}" dt="2023-11-27T12:02:37.598" v="17074" actId="478"/>
          <ac:picMkLst>
            <pc:docMk/>
            <pc:sldMk cId="2223022825" sldId="3036"/>
            <ac:picMk id="14338" creationId="{F2B32A13-5B9A-BA87-7C86-A457ED5C77EB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3872028945" sldId="3037"/>
        </pc:sldMkLst>
        <pc:spChg chg="add mod">
          <ac:chgData name="Otavio Augusto Sabia Gava" userId="68ac195b-011b-467c-86d4-321df89323d0" providerId="ADAL" clId="{0C687AD9-2800-41E2-AA69-D02ABC7EDD76}" dt="2023-11-27T18:33:37.743" v="19176" actId="113"/>
          <ac:spMkLst>
            <pc:docMk/>
            <pc:sldMk cId="3872028945" sldId="3037"/>
            <ac:spMk id="2" creationId="{1D15A2DA-98E5-CEA0-CD24-BC9B745D6E9D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3" creationId="{750AC519-9720-6EBC-2C7C-E42ECD70F0E7}"/>
          </ac:spMkLst>
        </pc:spChg>
        <pc:spChg chg="mod">
          <ac:chgData name="Otavio Augusto Sabia Gava" userId="68ac195b-011b-467c-86d4-321df89323d0" providerId="ADAL" clId="{0C687AD9-2800-41E2-AA69-D02ABC7EDD76}" dt="2023-11-27T18:31:27.476" v="19156" actId="20577"/>
          <ac:spMkLst>
            <pc:docMk/>
            <pc:sldMk cId="3872028945" sldId="3037"/>
            <ac:spMk id="5" creationId="{691BD817-ED31-4962-832B-1254437B69A3}"/>
          </ac:spMkLst>
        </pc:spChg>
        <pc:spChg chg="add mod">
          <ac:chgData name="Otavio Augusto Sabia Gava" userId="68ac195b-011b-467c-86d4-321df89323d0" providerId="ADAL" clId="{0C687AD9-2800-41E2-AA69-D02ABC7EDD76}" dt="2023-11-27T19:16:52.520" v="19213" actId="20577"/>
          <ac:spMkLst>
            <pc:docMk/>
            <pc:sldMk cId="3872028945" sldId="3037"/>
            <ac:spMk id="7" creationId="{8ECB76E3-A600-4D06-1F5E-110D3D95B2AA}"/>
          </ac:spMkLst>
        </pc:spChg>
        <pc:spChg chg="add mod">
          <ac:chgData name="Otavio Augusto Sabia Gava" userId="68ac195b-011b-467c-86d4-321df89323d0" providerId="ADAL" clId="{0C687AD9-2800-41E2-AA69-D02ABC7EDD76}" dt="2023-11-27T18:32:03.901" v="19162" actId="113"/>
          <ac:spMkLst>
            <pc:docMk/>
            <pc:sldMk cId="3872028945" sldId="3037"/>
            <ac:spMk id="9" creationId="{5B5FB8F1-1751-CBC4-66DC-46E78ADFDEC6}"/>
          </ac:spMkLst>
        </pc:spChg>
        <pc:spChg chg="add mod">
          <ac:chgData name="Otavio Augusto Sabia Gava" userId="68ac195b-011b-467c-86d4-321df89323d0" providerId="ADAL" clId="{0C687AD9-2800-41E2-AA69-D02ABC7EDD76}" dt="2023-11-27T18:33:09.353" v="19172" actId="207"/>
          <ac:spMkLst>
            <pc:docMk/>
            <pc:sldMk cId="3872028945" sldId="3037"/>
            <ac:spMk id="13" creationId="{80208D18-FF66-3742-9F3A-F75DCA2E665D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20" creationId="{CAA967EC-BE77-5CC1-733F-092A4E567F1F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21" creationId="{ED95BE5F-AA1F-F882-28C9-5A70731E8EB9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22" creationId="{4B8A6FF5-4E46-A56B-07BE-F5B8CE2638E9}"/>
          </ac:spMkLst>
        </pc:spChg>
        <pc:spChg chg="add mod">
          <ac:chgData name="Otavio Augusto Sabia Gava" userId="68ac195b-011b-467c-86d4-321df89323d0" providerId="ADAL" clId="{0C687AD9-2800-41E2-AA69-D02ABC7EDD76}" dt="2023-11-27T18:32:44.085" v="19169" actId="207"/>
          <ac:spMkLst>
            <pc:docMk/>
            <pc:sldMk cId="3872028945" sldId="3037"/>
            <ac:spMk id="23" creationId="{476D65DD-D12D-76E1-DA3B-C1DD6DE8326A}"/>
          </ac:spMkLst>
        </pc:spChg>
        <pc:spChg chg="mod">
          <ac:chgData name="Otavio Augusto Sabia Gava" userId="68ac195b-011b-467c-86d4-321df89323d0" providerId="ADAL" clId="{0C687AD9-2800-41E2-AA69-D02ABC7EDD76}" dt="2023-11-27T18:31:46.179" v="19158"/>
          <ac:spMkLst>
            <pc:docMk/>
            <pc:sldMk cId="3872028945" sldId="3037"/>
            <ac:spMk id="25" creationId="{6D857727-239B-A8A3-A323-1B81B4FF47C7}"/>
          </ac:spMkLst>
        </pc:spChg>
        <pc:spChg chg="mod">
          <ac:chgData name="Otavio Augusto Sabia Gava" userId="68ac195b-011b-467c-86d4-321df89323d0" providerId="ADAL" clId="{0C687AD9-2800-41E2-AA69-D02ABC7EDD76}" dt="2023-11-27T18:32:59.593" v="19171" actId="207"/>
          <ac:spMkLst>
            <pc:docMk/>
            <pc:sldMk cId="3872028945" sldId="3037"/>
            <ac:spMk id="26" creationId="{1C15CCAB-F787-DDE0-22AA-EACABFFCF461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28" creationId="{DD32FBD3-7DC2-B924-B58A-DF913696007F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29" creationId="{2C668C27-2752-68AF-9F5F-2BF7B88B2C11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30" creationId="{59695933-7A19-21C8-822B-00BBE261837A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31" creationId="{74162017-0F61-DA28-FF8C-53C9D8D9F9E1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35" creationId="{83B92F57-3EF6-B3C3-EE62-AC4743C7B32B}"/>
          </ac:spMkLst>
        </pc:spChg>
        <pc:spChg chg="mod">
          <ac:chgData name="Otavio Augusto Sabia Gava" userId="68ac195b-011b-467c-86d4-321df89323d0" providerId="ADAL" clId="{0C687AD9-2800-41E2-AA69-D02ABC7EDD76}" dt="2023-11-27T18:31:46.179" v="19158"/>
          <ac:spMkLst>
            <pc:docMk/>
            <pc:sldMk cId="3872028945" sldId="3037"/>
            <ac:spMk id="36" creationId="{CF31A6D6-D55E-CB4E-F8CD-7C03E8C64F1F}"/>
          </ac:spMkLst>
        </pc:spChg>
        <pc:spChg chg="mod">
          <ac:chgData name="Otavio Augusto Sabia Gava" userId="68ac195b-011b-467c-86d4-321df89323d0" providerId="ADAL" clId="{0C687AD9-2800-41E2-AA69-D02ABC7EDD76}" dt="2023-11-27T18:32:32.582" v="19167" actId="207"/>
          <ac:spMkLst>
            <pc:docMk/>
            <pc:sldMk cId="3872028945" sldId="3037"/>
            <ac:spMk id="37" creationId="{611D42B7-2625-D80A-25B1-46256CDE8678}"/>
          </ac:spMkLst>
        </pc:spChg>
        <pc:spChg chg="add mod">
          <ac:chgData name="Otavio Augusto Sabia Gava" userId="68ac195b-011b-467c-86d4-321df89323d0" providerId="ADAL" clId="{0C687AD9-2800-41E2-AA69-D02ABC7EDD76}" dt="2023-11-27T18:32:38.493" v="19168" actId="207"/>
          <ac:spMkLst>
            <pc:docMk/>
            <pc:sldMk cId="3872028945" sldId="3037"/>
            <ac:spMk id="40" creationId="{06C5BF41-820B-C546-9CFE-786A17AF3630}"/>
          </ac:spMkLst>
        </pc:spChg>
        <pc:spChg chg="add mod">
          <ac:chgData name="Otavio Augusto Sabia Gava" userId="68ac195b-011b-467c-86d4-321df89323d0" providerId="ADAL" clId="{0C687AD9-2800-41E2-AA69-D02ABC7EDD76}" dt="2023-11-27T18:31:46.179" v="19158"/>
          <ac:spMkLst>
            <pc:docMk/>
            <pc:sldMk cId="3872028945" sldId="3037"/>
            <ac:spMk id="41" creationId="{21DA72C3-EDEB-85F6-26E6-62E2ED279630}"/>
          </ac:spMkLst>
        </pc:spChg>
        <pc:spChg chg="add mod">
          <ac:chgData name="Otavio Augusto Sabia Gava" userId="68ac195b-011b-467c-86d4-321df89323d0" providerId="ADAL" clId="{0C687AD9-2800-41E2-AA69-D02ABC7EDD76}" dt="2023-11-27T18:32:52.029" v="19170" actId="207"/>
          <ac:spMkLst>
            <pc:docMk/>
            <pc:sldMk cId="3872028945" sldId="3037"/>
            <ac:spMk id="42" creationId="{A8006D6C-ACFF-0611-5214-C73CEF090C26}"/>
          </ac:spMkLst>
        </pc:spChg>
        <pc:spChg chg="add mod">
          <ac:chgData name="Otavio Augusto Sabia Gava" userId="68ac195b-011b-467c-86d4-321df89323d0" providerId="ADAL" clId="{0C687AD9-2800-41E2-AA69-D02ABC7EDD76}" dt="2023-11-27T18:31:46.179" v="19158"/>
          <ac:spMkLst>
            <pc:docMk/>
            <pc:sldMk cId="3872028945" sldId="3037"/>
            <ac:spMk id="43" creationId="{5CF09E1A-DFE5-BD16-D391-D024C690EBAB}"/>
          </ac:spMkLst>
        </pc:spChg>
        <pc:spChg chg="add mod">
          <ac:chgData name="Otavio Augusto Sabia Gava" userId="68ac195b-011b-467c-86d4-321df89323d0" providerId="ADAL" clId="{0C687AD9-2800-41E2-AA69-D02ABC7EDD76}" dt="2023-11-27T18:32:17.420" v="19166" actId="403"/>
          <ac:spMkLst>
            <pc:docMk/>
            <pc:sldMk cId="3872028945" sldId="3037"/>
            <ac:spMk id="44" creationId="{809CE577-1B5B-B2C5-B5E2-8E219F929219}"/>
          </ac:spMkLst>
        </pc:spChg>
        <pc:spChg chg="del">
          <ac:chgData name="Otavio Augusto Sabia Gava" userId="68ac195b-011b-467c-86d4-321df89323d0" providerId="ADAL" clId="{0C687AD9-2800-41E2-AA69-D02ABC7EDD76}" dt="2023-11-27T18:31:45.928" v="19157" actId="478"/>
          <ac:spMkLst>
            <pc:docMk/>
            <pc:sldMk cId="3872028945" sldId="3037"/>
            <ac:spMk id="87" creationId="{758BBB6A-D762-2614-BAAE-DAF1C4F2B27A}"/>
          </ac:spMkLst>
        </pc:spChg>
        <pc:grpChg chg="del">
          <ac:chgData name="Otavio Augusto Sabia Gava" userId="68ac195b-011b-467c-86d4-321df89323d0" providerId="ADAL" clId="{0C687AD9-2800-41E2-AA69-D02ABC7EDD76}" dt="2023-11-27T18:31:45.928" v="19157" actId="478"/>
          <ac:grpSpMkLst>
            <pc:docMk/>
            <pc:sldMk cId="3872028945" sldId="3037"/>
            <ac:grpSpMk id="4" creationId="{02FEB559-6647-4561-B762-4F3141D2E569}"/>
          </ac:grpSpMkLst>
        </pc:grpChg>
        <pc:grpChg chg="del">
          <ac:chgData name="Otavio Augusto Sabia Gava" userId="68ac195b-011b-467c-86d4-321df89323d0" providerId="ADAL" clId="{0C687AD9-2800-41E2-AA69-D02ABC7EDD76}" dt="2023-11-27T18:31:45.928" v="19157" actId="478"/>
          <ac:grpSpMkLst>
            <pc:docMk/>
            <pc:sldMk cId="3872028945" sldId="3037"/>
            <ac:grpSpMk id="10" creationId="{940004A6-6DEA-FD9F-4854-DA87AF74ED1D}"/>
          </ac:grpSpMkLst>
        </pc:grpChg>
        <pc:grpChg chg="del">
          <ac:chgData name="Otavio Augusto Sabia Gava" userId="68ac195b-011b-467c-86d4-321df89323d0" providerId="ADAL" clId="{0C687AD9-2800-41E2-AA69-D02ABC7EDD76}" dt="2023-11-27T18:31:45.928" v="19157" actId="478"/>
          <ac:grpSpMkLst>
            <pc:docMk/>
            <pc:sldMk cId="3872028945" sldId="3037"/>
            <ac:grpSpMk id="14" creationId="{17069116-848D-0489-EB04-D6DB3F962841}"/>
          </ac:grpSpMkLst>
        </pc:grpChg>
        <pc:grpChg chg="del">
          <ac:chgData name="Otavio Augusto Sabia Gava" userId="68ac195b-011b-467c-86d4-321df89323d0" providerId="ADAL" clId="{0C687AD9-2800-41E2-AA69-D02ABC7EDD76}" dt="2023-11-27T18:31:45.928" v="19157" actId="478"/>
          <ac:grpSpMkLst>
            <pc:docMk/>
            <pc:sldMk cId="3872028945" sldId="3037"/>
            <ac:grpSpMk id="17" creationId="{05ACDCBC-1266-D844-49DA-A45EFBDF85A5}"/>
          </ac:grpSpMkLst>
        </pc:grpChg>
        <pc:grpChg chg="add mod">
          <ac:chgData name="Otavio Augusto Sabia Gava" userId="68ac195b-011b-467c-86d4-321df89323d0" providerId="ADAL" clId="{0C687AD9-2800-41E2-AA69-D02ABC7EDD76}" dt="2023-11-27T18:31:46.179" v="19158"/>
          <ac:grpSpMkLst>
            <pc:docMk/>
            <pc:sldMk cId="3872028945" sldId="3037"/>
            <ac:grpSpMk id="24" creationId="{4E71C774-F638-F012-06ED-83D6B87440D9}"/>
          </ac:grpSpMkLst>
        </pc:grpChg>
        <pc:picChg chg="del">
          <ac:chgData name="Otavio Augusto Sabia Gava" userId="68ac195b-011b-467c-86d4-321df89323d0" providerId="ADAL" clId="{0C687AD9-2800-41E2-AA69-D02ABC7EDD76}" dt="2023-11-27T18:31:45.928" v="19157" actId="478"/>
          <ac:picMkLst>
            <pc:docMk/>
            <pc:sldMk cId="3872028945" sldId="3037"/>
            <ac:picMk id="27" creationId="{A6560377-F9BC-8687-560E-5312632FC7AB}"/>
          </ac:picMkLst>
        </pc:picChg>
        <pc:picChg chg="del">
          <ac:chgData name="Otavio Augusto Sabia Gava" userId="68ac195b-011b-467c-86d4-321df89323d0" providerId="ADAL" clId="{0C687AD9-2800-41E2-AA69-D02ABC7EDD76}" dt="2023-11-27T18:31:45.928" v="19157" actId="478"/>
          <ac:picMkLst>
            <pc:docMk/>
            <pc:sldMk cId="3872028945" sldId="3037"/>
            <ac:picMk id="32" creationId="{B7ADEEB7-E847-F839-8309-D0ECD62F715D}"/>
          </ac:picMkLst>
        </pc:picChg>
        <pc:picChg chg="del">
          <ac:chgData name="Otavio Augusto Sabia Gava" userId="68ac195b-011b-467c-86d4-321df89323d0" providerId="ADAL" clId="{0C687AD9-2800-41E2-AA69-D02ABC7EDD76}" dt="2023-11-27T18:31:45.928" v="19157" actId="478"/>
          <ac:picMkLst>
            <pc:docMk/>
            <pc:sldMk cId="3872028945" sldId="3037"/>
            <ac:picMk id="33" creationId="{485BD91D-E7C1-407C-7544-7AC73303E2F8}"/>
          </ac:picMkLst>
        </pc:picChg>
        <pc:picChg chg="del">
          <ac:chgData name="Otavio Augusto Sabia Gava" userId="68ac195b-011b-467c-86d4-321df89323d0" providerId="ADAL" clId="{0C687AD9-2800-41E2-AA69-D02ABC7EDD76}" dt="2023-11-27T18:31:45.928" v="19157" actId="478"/>
          <ac:picMkLst>
            <pc:docMk/>
            <pc:sldMk cId="3872028945" sldId="3037"/>
            <ac:picMk id="34" creationId="{0F61F2E2-FC94-E640-7EBF-B019CF5BBF77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45" creationId="{C1D8C138-E3BC-C2F9-8560-45B52AD86280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46" creationId="{E95EA8E5-BB40-63E5-4EBF-4195583B7317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47" creationId="{7A58C29F-0BBB-2C39-4FA3-65D90A14F396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48" creationId="{D32420F8-3B4E-0B49-E13E-BB5BC3A3385C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49" creationId="{5EE98ADC-D6D2-7A0E-1E9F-E4C7D19E8FD6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50" creationId="{006952E3-1637-A033-6A45-5A543512A2B4}"/>
          </ac:picMkLst>
        </pc:picChg>
        <pc:picChg chg="add mod">
          <ac:chgData name="Otavio Augusto Sabia Gava" userId="68ac195b-011b-467c-86d4-321df89323d0" providerId="ADAL" clId="{0C687AD9-2800-41E2-AA69-D02ABC7EDD76}" dt="2023-11-27T18:31:46.179" v="19158"/>
          <ac:picMkLst>
            <pc:docMk/>
            <pc:sldMk cId="3872028945" sldId="3037"/>
            <ac:picMk id="51" creationId="{5B0F4A4F-7280-B7AA-D3D7-C6B0074158E9}"/>
          </ac:picMkLst>
        </pc:picChg>
        <pc:picChg chg="mod">
          <ac:chgData name="Otavio Augusto Sabia Gava" userId="68ac195b-011b-467c-86d4-321df89323d0" providerId="ADAL" clId="{0C687AD9-2800-41E2-AA69-D02ABC7EDD76}" dt="2023-11-28T19:47:49.927" v="21757"/>
          <ac:picMkLst>
            <pc:docMk/>
            <pc:sldMk cId="3872028945" sldId="3037"/>
            <ac:picMk id="90" creationId="{A307619D-7E7E-9AF2-AC93-1D1D7315D7E7}"/>
          </ac:picMkLst>
        </pc:picChg>
        <pc:cxnChg chg="mod">
          <ac:chgData name="Otavio Augusto Sabia Gava" userId="68ac195b-011b-467c-86d4-321df89323d0" providerId="ADAL" clId="{0C687AD9-2800-41E2-AA69-D02ABC7EDD76}" dt="2023-11-27T18:31:46.179" v="19158"/>
          <ac:cxnSpMkLst>
            <pc:docMk/>
            <pc:sldMk cId="3872028945" sldId="3037"/>
            <ac:cxnSpMk id="38" creationId="{518AEA59-E9ED-257D-FCA6-AE3DC9F7E438}"/>
          </ac:cxnSpMkLst>
        </pc:cxnChg>
        <pc:cxnChg chg="mod">
          <ac:chgData name="Otavio Augusto Sabia Gava" userId="68ac195b-011b-467c-86d4-321df89323d0" providerId="ADAL" clId="{0C687AD9-2800-41E2-AA69-D02ABC7EDD76}" dt="2023-11-27T18:31:46.179" v="19158"/>
          <ac:cxnSpMkLst>
            <pc:docMk/>
            <pc:sldMk cId="3872028945" sldId="3037"/>
            <ac:cxnSpMk id="39" creationId="{8D397146-7CA3-6530-5758-C00AABEA3E4E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1-28T19:40:39.531" v="21625" actId="47"/>
        <pc:sldMkLst>
          <pc:docMk/>
          <pc:sldMk cId="4278640136" sldId="3038"/>
        </pc:sldMkLst>
        <pc:spChg chg="add del mod">
          <ac:chgData name="Otavio Augusto Sabia Gava" userId="68ac195b-011b-467c-86d4-321df89323d0" providerId="ADAL" clId="{0C687AD9-2800-41E2-AA69-D02ABC7EDD76}" dt="2023-11-28T16:24:21.509" v="19319" actId="478"/>
          <ac:spMkLst>
            <pc:docMk/>
            <pc:sldMk cId="4278640136" sldId="3038"/>
            <ac:spMk id="3" creationId="{F783A747-3DFC-5761-B6B7-BDCB656020F0}"/>
          </ac:spMkLst>
        </pc:spChg>
        <pc:spChg chg="add del mod">
          <ac:chgData name="Otavio Augusto Sabia Gava" userId="68ac195b-011b-467c-86d4-321df89323d0" providerId="ADAL" clId="{0C687AD9-2800-41E2-AA69-D02ABC7EDD76}" dt="2023-11-28T16:24:21.509" v="19319" actId="478"/>
          <ac:spMkLst>
            <pc:docMk/>
            <pc:sldMk cId="4278640136" sldId="3038"/>
            <ac:spMk id="4" creationId="{1ED5865A-F376-B7D2-7BE6-29F6D040E234}"/>
          </ac:spMkLst>
        </pc:spChg>
        <pc:spChg chg="mod">
          <ac:chgData name="Otavio Augusto Sabia Gava" userId="68ac195b-011b-467c-86d4-321df89323d0" providerId="ADAL" clId="{0C687AD9-2800-41E2-AA69-D02ABC7EDD76}" dt="2023-11-28T17:17:26.814" v="19766" actId="1035"/>
          <ac:spMkLst>
            <pc:docMk/>
            <pc:sldMk cId="4278640136" sldId="3038"/>
            <ac:spMk id="5" creationId="{691BD817-ED31-4962-832B-1254437B69A3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6" creationId="{6A55DA15-DE23-85B3-A3AF-8DBCD34ED196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8" creationId="{1DC6541B-1D98-0EC3-992F-FFBC6AA36EFD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11" creationId="{C128138F-A06F-4AAF-BDEC-93EAD7FACFCB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12" creationId="{8CF9134B-33D8-71A7-8626-7E3BE439A43E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14" creationId="{A0EAF84C-E728-FF05-2223-E8EB9F13D35D}"/>
          </ac:spMkLst>
        </pc:spChg>
        <pc:spChg chg="add del mod">
          <ac:chgData name="Otavio Augusto Sabia Gava" userId="68ac195b-011b-467c-86d4-321df89323d0" providerId="ADAL" clId="{0C687AD9-2800-41E2-AA69-D02ABC7EDD76}" dt="2023-11-28T17:10:35.912" v="19750" actId="478"/>
          <ac:spMkLst>
            <pc:docMk/>
            <pc:sldMk cId="4278640136" sldId="3038"/>
            <ac:spMk id="16" creationId="{791968DD-7324-2AF2-1CFF-13FDF4912796}"/>
          </ac:spMkLst>
        </pc:spChg>
        <pc:spChg chg="add del mod">
          <ac:chgData name="Otavio Augusto Sabia Gava" userId="68ac195b-011b-467c-86d4-321df89323d0" providerId="ADAL" clId="{0C687AD9-2800-41E2-AA69-D02ABC7EDD76}" dt="2023-11-28T17:02:39.283" v="19642" actId="478"/>
          <ac:spMkLst>
            <pc:docMk/>
            <pc:sldMk cId="4278640136" sldId="3038"/>
            <ac:spMk id="17" creationId="{8108DAEA-93F0-B753-B794-F50C4E36FCAD}"/>
          </ac:spMkLst>
        </pc:spChg>
        <pc:spChg chg="add del mod">
          <ac:chgData name="Otavio Augusto Sabia Gava" userId="68ac195b-011b-467c-86d4-321df89323d0" providerId="ADAL" clId="{0C687AD9-2800-41E2-AA69-D02ABC7EDD76}" dt="2023-11-28T17:02:40.337" v="19643" actId="478"/>
          <ac:spMkLst>
            <pc:docMk/>
            <pc:sldMk cId="4278640136" sldId="3038"/>
            <ac:spMk id="18" creationId="{579E6FE5-F18A-054F-B115-D6429A7D7943}"/>
          </ac:spMkLst>
        </pc:spChg>
        <pc:spChg chg="add del">
          <ac:chgData name="Otavio Augusto Sabia Gava" userId="68ac195b-011b-467c-86d4-321df89323d0" providerId="ADAL" clId="{0C687AD9-2800-41E2-AA69-D02ABC7EDD76}" dt="2023-11-28T16:45:14.825" v="19331" actId="478"/>
          <ac:spMkLst>
            <pc:docMk/>
            <pc:sldMk cId="4278640136" sldId="3038"/>
            <ac:spMk id="20" creationId="{DF0F7EFD-958E-EBBB-B9B1-A5AF6BEF2731}"/>
          </ac:spMkLst>
        </pc:spChg>
        <pc:spChg chg="add del mod">
          <ac:chgData name="Otavio Augusto Sabia Gava" userId="68ac195b-011b-467c-86d4-321df89323d0" providerId="ADAL" clId="{0C687AD9-2800-41E2-AA69-D02ABC7EDD76}" dt="2023-11-28T16:47:36.699" v="19351" actId="767"/>
          <ac:spMkLst>
            <pc:docMk/>
            <pc:sldMk cId="4278640136" sldId="3038"/>
            <ac:spMk id="21" creationId="{89C37F05-6E6D-B88C-CFE4-9713598E4690}"/>
          </ac:spMkLst>
        </pc:spChg>
        <pc:spChg chg="add del mod">
          <ac:chgData name="Otavio Augusto Sabia Gava" userId="68ac195b-011b-467c-86d4-321df89323d0" providerId="ADAL" clId="{0C687AD9-2800-41E2-AA69-D02ABC7EDD76}" dt="2023-11-28T16:52:58.352" v="19456" actId="478"/>
          <ac:spMkLst>
            <pc:docMk/>
            <pc:sldMk cId="4278640136" sldId="3038"/>
            <ac:spMk id="22" creationId="{EBD7E142-BBF4-71E5-DD68-F1752A6613AD}"/>
          </ac:spMkLst>
        </pc:spChg>
        <pc:spChg chg="add del mod">
          <ac:chgData name="Otavio Augusto Sabia Gava" userId="68ac195b-011b-467c-86d4-321df89323d0" providerId="ADAL" clId="{0C687AD9-2800-41E2-AA69-D02ABC7EDD76}" dt="2023-11-28T16:52:59.420" v="19457" actId="478"/>
          <ac:spMkLst>
            <pc:docMk/>
            <pc:sldMk cId="4278640136" sldId="3038"/>
            <ac:spMk id="23" creationId="{BA4C989E-698A-6625-B3BC-9BF2A81C8D81}"/>
          </ac:spMkLst>
        </pc:spChg>
        <pc:spChg chg="add mod">
          <ac:chgData name="Otavio Augusto Sabia Gava" userId="68ac195b-011b-467c-86d4-321df89323d0" providerId="ADAL" clId="{0C687AD9-2800-41E2-AA69-D02ABC7EDD76}" dt="2023-11-28T17:04:34.633" v="19679" actId="14100"/>
          <ac:spMkLst>
            <pc:docMk/>
            <pc:sldMk cId="4278640136" sldId="3038"/>
            <ac:spMk id="26" creationId="{E4D58B91-BA6A-6167-A6DF-EC256A3D379E}"/>
          </ac:spMkLst>
        </pc:spChg>
        <pc:spChg chg="add mod">
          <ac:chgData name="Otavio Augusto Sabia Gava" userId="68ac195b-011b-467c-86d4-321df89323d0" providerId="ADAL" clId="{0C687AD9-2800-41E2-AA69-D02ABC7EDD76}" dt="2023-11-28T17:08:58.760" v="19739" actId="1036"/>
          <ac:spMkLst>
            <pc:docMk/>
            <pc:sldMk cId="4278640136" sldId="3038"/>
            <ac:spMk id="27" creationId="{CCA4A3C1-5F57-5891-44B7-7C30F12AB9F0}"/>
          </ac:spMkLst>
        </pc:spChg>
        <pc:spChg chg="add mod">
          <ac:chgData name="Otavio Augusto Sabia Gava" userId="68ac195b-011b-467c-86d4-321df89323d0" providerId="ADAL" clId="{0C687AD9-2800-41E2-AA69-D02ABC7EDD76}" dt="2023-11-28T17:08:14.305" v="19717" actId="14100"/>
          <ac:spMkLst>
            <pc:docMk/>
            <pc:sldMk cId="4278640136" sldId="3038"/>
            <ac:spMk id="29" creationId="{5A581704-3D5D-A046-1710-CB383FB821C2}"/>
          </ac:spMkLst>
        </pc:spChg>
        <pc:spChg chg="add mod">
          <ac:chgData name="Otavio Augusto Sabia Gava" userId="68ac195b-011b-467c-86d4-321df89323d0" providerId="ADAL" clId="{0C687AD9-2800-41E2-AA69-D02ABC7EDD76}" dt="2023-11-28T17:08:53.858" v="19737" actId="2711"/>
          <ac:spMkLst>
            <pc:docMk/>
            <pc:sldMk cId="4278640136" sldId="3038"/>
            <ac:spMk id="30" creationId="{F5401873-E36F-C40D-1996-C9E76FDB274F}"/>
          </ac:spMkLst>
        </pc:spChg>
        <pc:spChg chg="add mod">
          <ac:chgData name="Otavio Augusto Sabia Gava" userId="68ac195b-011b-467c-86d4-321df89323d0" providerId="ADAL" clId="{0C687AD9-2800-41E2-AA69-D02ABC7EDD76}" dt="2023-11-28T17:08:23.396" v="19720" actId="14100"/>
          <ac:spMkLst>
            <pc:docMk/>
            <pc:sldMk cId="4278640136" sldId="3038"/>
            <ac:spMk id="36" creationId="{37C705AB-A78E-1059-73FA-145471541D19}"/>
          </ac:spMkLst>
        </pc:spChg>
        <pc:spChg chg="mod">
          <ac:chgData name="Otavio Augusto Sabia Gava" userId="68ac195b-011b-467c-86d4-321df89323d0" providerId="ADAL" clId="{0C687AD9-2800-41E2-AA69-D02ABC7EDD76}" dt="2023-11-28T17:09:54.113" v="19745" actId="207"/>
          <ac:spMkLst>
            <pc:docMk/>
            <pc:sldMk cId="4278640136" sldId="3038"/>
            <ac:spMk id="37" creationId="{72C8E118-A821-83CE-B0E6-F441703E2BC8}"/>
          </ac:spMkLst>
        </pc:spChg>
        <pc:spChg chg="del">
          <ac:chgData name="Otavio Augusto Sabia Gava" userId="68ac195b-011b-467c-86d4-321df89323d0" providerId="ADAL" clId="{0C687AD9-2800-41E2-AA69-D02ABC7EDD76}" dt="2023-11-28T16:19:48.379" v="19234" actId="478"/>
          <ac:spMkLst>
            <pc:docMk/>
            <pc:sldMk cId="4278640136" sldId="3038"/>
            <ac:spMk id="38" creationId="{FAB55431-9773-30D3-6CC7-B145C4A6656C}"/>
          </ac:spMkLst>
        </pc:spChg>
        <pc:spChg chg="del mod">
          <ac:chgData name="Otavio Augusto Sabia Gava" userId="68ac195b-011b-467c-86d4-321df89323d0" providerId="ADAL" clId="{0C687AD9-2800-41E2-AA69-D02ABC7EDD76}" dt="2023-11-28T16:19:51.430" v="19237" actId="478"/>
          <ac:spMkLst>
            <pc:docMk/>
            <pc:sldMk cId="4278640136" sldId="3038"/>
            <ac:spMk id="39" creationId="{D43FF608-ADB7-C07C-1BBF-5D3FA59B20E6}"/>
          </ac:spMkLst>
        </pc:spChg>
        <pc:spChg chg="del">
          <ac:chgData name="Otavio Augusto Sabia Gava" userId="68ac195b-011b-467c-86d4-321df89323d0" providerId="ADAL" clId="{0C687AD9-2800-41E2-AA69-D02ABC7EDD76}" dt="2023-11-28T16:19:47.765" v="19233" actId="478"/>
          <ac:spMkLst>
            <pc:docMk/>
            <pc:sldMk cId="4278640136" sldId="3038"/>
            <ac:spMk id="40" creationId="{96FAA112-7E95-6315-FEA3-C06482F1D090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1" creationId="{0D2B43DF-CFC3-8AFF-5E13-3D28FD823816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2" creationId="{3C7EB66B-E713-35D9-666A-904EA8D28BB6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3" creationId="{198C50E4-CE7E-A230-A373-3A991BD07217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4" creationId="{9E15CB35-3EA8-C4E8-3362-DE2AB0D8CCBD}"/>
          </ac:spMkLst>
        </pc:spChg>
        <pc:spChg chg="del">
          <ac:chgData name="Otavio Augusto Sabia Gava" userId="68ac195b-011b-467c-86d4-321df89323d0" providerId="ADAL" clId="{0C687AD9-2800-41E2-AA69-D02ABC7EDD76}" dt="2023-11-28T16:19:49.245" v="19235" actId="478"/>
          <ac:spMkLst>
            <pc:docMk/>
            <pc:sldMk cId="4278640136" sldId="3038"/>
            <ac:spMk id="45" creationId="{9DD30752-8F43-316F-026E-0B480E27F43B}"/>
          </ac:spMkLst>
        </pc:spChg>
        <pc:spChg chg="add del mod">
          <ac:chgData name="Otavio Augusto Sabia Gava" userId="68ac195b-011b-467c-86d4-321df89323d0" providerId="ADAL" clId="{0C687AD9-2800-41E2-AA69-D02ABC7EDD76}" dt="2023-11-28T16:50:56.283" v="19410" actId="478"/>
          <ac:spMkLst>
            <pc:docMk/>
            <pc:sldMk cId="4278640136" sldId="3038"/>
            <ac:spMk id="46" creationId="{30DD34B2-205B-494E-6F71-4D7B59FCDB01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7" creationId="{1E68DDF8-4DC6-40E1-24DA-BAB508EF3372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8" creationId="{1EAB79BA-BF2C-7B80-1729-62ABD2487185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49" creationId="{9201518C-D283-D1F7-C225-63C8DE5E6956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50" creationId="{670CBB8B-E627-B3E9-C740-DFB777A08892}"/>
          </ac:spMkLst>
        </pc:spChg>
        <pc:spChg chg="add mod">
          <ac:chgData name="Otavio Augusto Sabia Gava" userId="68ac195b-011b-467c-86d4-321df89323d0" providerId="ADAL" clId="{0C687AD9-2800-41E2-AA69-D02ABC7EDD76}" dt="2023-11-28T17:08:48.680" v="19736" actId="2711"/>
          <ac:spMkLst>
            <pc:docMk/>
            <pc:sldMk cId="4278640136" sldId="3038"/>
            <ac:spMk id="54" creationId="{4D83A430-EF2C-66DC-BDCE-B444E6FD54A2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55" creationId="{FE77F5A9-9A5C-CEDC-9B48-CFBEDAB660CD}"/>
          </ac:spMkLst>
        </pc:spChg>
        <pc:spChg chg="del">
          <ac:chgData name="Otavio Augusto Sabia Gava" userId="68ac195b-011b-467c-86d4-321df89323d0" providerId="ADAL" clId="{0C687AD9-2800-41E2-AA69-D02ABC7EDD76}" dt="2023-11-28T16:19:46.854" v="19232" actId="478"/>
          <ac:spMkLst>
            <pc:docMk/>
            <pc:sldMk cId="4278640136" sldId="3038"/>
            <ac:spMk id="56" creationId="{B9F064FB-5F1D-603D-E0DF-3B73D9D2404B}"/>
          </ac:spMkLst>
        </pc:spChg>
        <pc:spChg chg="add del mod">
          <ac:chgData name="Otavio Augusto Sabia Gava" userId="68ac195b-011b-467c-86d4-321df89323d0" providerId="ADAL" clId="{0C687AD9-2800-41E2-AA69-D02ABC7EDD76}" dt="2023-11-28T16:54:05.322" v="19493" actId="478"/>
          <ac:spMkLst>
            <pc:docMk/>
            <pc:sldMk cId="4278640136" sldId="3038"/>
            <ac:spMk id="57" creationId="{9806DE64-7D9B-A723-063B-C30FF612601C}"/>
          </ac:spMkLst>
        </pc:spChg>
        <pc:spChg chg="add del mod">
          <ac:chgData name="Otavio Augusto Sabia Gava" userId="68ac195b-011b-467c-86d4-321df89323d0" providerId="ADAL" clId="{0C687AD9-2800-41E2-AA69-D02ABC7EDD76}" dt="2023-11-28T17:33:43.956" v="19777" actId="478"/>
          <ac:spMkLst>
            <pc:docMk/>
            <pc:sldMk cId="4278640136" sldId="3038"/>
            <ac:spMk id="58" creationId="{718543CA-E745-A550-CB24-5F851B3BC7D7}"/>
          </ac:spMkLst>
        </pc:spChg>
        <pc:spChg chg="add del mod">
          <ac:chgData name="Otavio Augusto Sabia Gava" userId="68ac195b-011b-467c-86d4-321df89323d0" providerId="ADAL" clId="{0C687AD9-2800-41E2-AA69-D02ABC7EDD76}" dt="2023-11-28T16:58:03.009" v="19583" actId="478"/>
          <ac:spMkLst>
            <pc:docMk/>
            <pc:sldMk cId="4278640136" sldId="3038"/>
            <ac:spMk id="59" creationId="{3720787B-E9DC-24A4-4684-5FAE8F677164}"/>
          </ac:spMkLst>
        </pc:spChg>
        <pc:spChg chg="mod">
          <ac:chgData name="Otavio Augusto Sabia Gava" userId="68ac195b-011b-467c-86d4-321df89323d0" providerId="ADAL" clId="{0C687AD9-2800-41E2-AA69-D02ABC7EDD76}" dt="2023-11-28T17:26:00.580" v="19774" actId="208"/>
          <ac:spMkLst>
            <pc:docMk/>
            <pc:sldMk cId="4278640136" sldId="3038"/>
            <ac:spMk id="60" creationId="{A5026954-B2DA-0422-9733-1FA60CA4621F}"/>
          </ac:spMkLst>
        </pc:spChg>
        <pc:spChg chg="del mod">
          <ac:chgData name="Otavio Augusto Sabia Gava" userId="68ac195b-011b-467c-86d4-321df89323d0" providerId="ADAL" clId="{0C687AD9-2800-41E2-AA69-D02ABC7EDD76}" dt="2023-11-28T17:04:57.101" v="19680" actId="478"/>
          <ac:spMkLst>
            <pc:docMk/>
            <pc:sldMk cId="4278640136" sldId="3038"/>
            <ac:spMk id="61" creationId="{8465B7E7-DAC5-7411-B6E6-02D26BA21881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62" creationId="{2CF2DFE6-6A33-446A-5924-4D68A81BE3CE}"/>
          </ac:spMkLst>
        </pc:spChg>
        <pc:spChg chg="add del mod">
          <ac:chgData name="Otavio Augusto Sabia Gava" userId="68ac195b-011b-467c-86d4-321df89323d0" providerId="ADAL" clId="{0C687AD9-2800-41E2-AA69-D02ABC7EDD76}" dt="2023-11-28T16:58:06.881" v="19585"/>
          <ac:spMkLst>
            <pc:docMk/>
            <pc:sldMk cId="4278640136" sldId="3038"/>
            <ac:spMk id="69" creationId="{EB99A94F-7FDC-2EFD-4FDD-E4AFD0EEE2D2}"/>
          </ac:spMkLst>
        </pc:spChg>
        <pc:spChg chg="add del mod">
          <ac:chgData name="Otavio Augusto Sabia Gava" userId="68ac195b-011b-467c-86d4-321df89323d0" providerId="ADAL" clId="{0C687AD9-2800-41E2-AA69-D02ABC7EDD76}" dt="2023-11-28T16:58:06.881" v="19585"/>
          <ac:spMkLst>
            <pc:docMk/>
            <pc:sldMk cId="4278640136" sldId="3038"/>
            <ac:spMk id="70" creationId="{69AAE73C-F227-3C7A-2D40-A69FF1D95976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72" creationId="{73E5245F-1FFC-F7A7-649D-E50C7E5B737F}"/>
          </ac:spMkLst>
        </pc:spChg>
        <pc:spChg chg="del">
          <ac:chgData name="Otavio Augusto Sabia Gava" userId="68ac195b-011b-467c-86d4-321df89323d0" providerId="ADAL" clId="{0C687AD9-2800-41E2-AA69-D02ABC7EDD76}" dt="2023-11-28T16:20:44.434" v="19257" actId="478"/>
          <ac:spMkLst>
            <pc:docMk/>
            <pc:sldMk cId="4278640136" sldId="3038"/>
            <ac:spMk id="73" creationId="{96869582-FC52-1CB0-9FD1-06B1210DD84E}"/>
          </ac:spMkLst>
        </pc:spChg>
        <pc:spChg chg="add mod">
          <ac:chgData name="Otavio Augusto Sabia Gava" userId="68ac195b-011b-467c-86d4-321df89323d0" providerId="ADAL" clId="{0C687AD9-2800-41E2-AA69-D02ABC7EDD76}" dt="2023-11-28T17:01:29.038" v="19624" actId="1076"/>
          <ac:spMkLst>
            <pc:docMk/>
            <pc:sldMk cId="4278640136" sldId="3038"/>
            <ac:spMk id="75" creationId="{D28003DB-D81D-4F18-CA0B-BF5757BE4E1B}"/>
          </ac:spMkLst>
        </pc:spChg>
        <pc:spChg chg="add mod">
          <ac:chgData name="Otavio Augusto Sabia Gava" userId="68ac195b-011b-467c-86d4-321df89323d0" providerId="ADAL" clId="{0C687AD9-2800-41E2-AA69-D02ABC7EDD76}" dt="2023-11-28T17:01:50.401" v="19627" actId="1076"/>
          <ac:spMkLst>
            <pc:docMk/>
            <pc:sldMk cId="4278640136" sldId="3038"/>
            <ac:spMk id="76" creationId="{F911D137-1434-3C50-455E-E4D1E41570F5}"/>
          </ac:spMkLst>
        </pc:spChg>
        <pc:spChg chg="add mod">
          <ac:chgData name="Otavio Augusto Sabia Gava" userId="68ac195b-011b-467c-86d4-321df89323d0" providerId="ADAL" clId="{0C687AD9-2800-41E2-AA69-D02ABC7EDD76}" dt="2023-11-28T17:01:50.401" v="19627" actId="1076"/>
          <ac:spMkLst>
            <pc:docMk/>
            <pc:sldMk cId="4278640136" sldId="3038"/>
            <ac:spMk id="77" creationId="{5B336517-21E0-B23D-F99F-5EEB5C990C5A}"/>
          </ac:spMkLst>
        </pc:spChg>
        <pc:spChg chg="add mod">
          <ac:chgData name="Otavio Augusto Sabia Gava" userId="68ac195b-011b-467c-86d4-321df89323d0" providerId="ADAL" clId="{0C687AD9-2800-41E2-AA69-D02ABC7EDD76}" dt="2023-11-28T17:01:54.816" v="19629" actId="1076"/>
          <ac:spMkLst>
            <pc:docMk/>
            <pc:sldMk cId="4278640136" sldId="3038"/>
            <ac:spMk id="78" creationId="{F1172DF3-710C-B2BD-D858-E9010853AA62}"/>
          </ac:spMkLst>
        </pc:spChg>
        <pc:spChg chg="add mod">
          <ac:chgData name="Otavio Augusto Sabia Gava" userId="68ac195b-011b-467c-86d4-321df89323d0" providerId="ADAL" clId="{0C687AD9-2800-41E2-AA69-D02ABC7EDD76}" dt="2023-11-28T17:01:54.816" v="19629" actId="1076"/>
          <ac:spMkLst>
            <pc:docMk/>
            <pc:sldMk cId="4278640136" sldId="3038"/>
            <ac:spMk id="79" creationId="{C4074F8C-E2FC-95E7-2F81-6C4DCF32D0D0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0" creationId="{D6C2186A-8B31-B497-4652-FC1B44426DB6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1" creationId="{AA23DC14-8EFF-4A8A-D260-133D24532FFD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2" creationId="{3439C205-68C7-F2E1-5441-36BAD9073673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3" creationId="{1666902C-AF2F-7E68-0CC4-A64ABC401234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4" creationId="{9606BF7A-4EB2-C16F-9AAF-6FC901E078FD}"/>
          </ac:spMkLst>
        </pc:spChg>
        <pc:spChg chg="add del mod">
          <ac:chgData name="Otavio Augusto Sabia Gava" userId="68ac195b-011b-467c-86d4-321df89323d0" providerId="ADAL" clId="{0C687AD9-2800-41E2-AA69-D02ABC7EDD76}" dt="2023-11-28T17:02:36.364" v="19640"/>
          <ac:spMkLst>
            <pc:docMk/>
            <pc:sldMk cId="4278640136" sldId="3038"/>
            <ac:spMk id="85" creationId="{0DF8C153-BBB6-8886-BF03-9F9B8C0441B7}"/>
          </ac:spMkLst>
        </pc:spChg>
        <pc:spChg chg="add del mod">
          <ac:chgData name="Otavio Augusto Sabia Gava" userId="68ac195b-011b-467c-86d4-321df89323d0" providerId="ADAL" clId="{0C687AD9-2800-41E2-AA69-D02ABC7EDD76}" dt="2023-11-28T17:02:59.565" v="19651"/>
          <ac:spMkLst>
            <pc:docMk/>
            <pc:sldMk cId="4278640136" sldId="3038"/>
            <ac:spMk id="86" creationId="{5A9D3E4D-C36C-949D-A490-553B6E60B211}"/>
          </ac:spMkLst>
        </pc:spChg>
        <pc:spChg chg="add del mod">
          <ac:chgData name="Otavio Augusto Sabia Gava" userId="68ac195b-011b-467c-86d4-321df89323d0" providerId="ADAL" clId="{0C687AD9-2800-41E2-AA69-D02ABC7EDD76}" dt="2023-11-28T17:02:59.565" v="19651"/>
          <ac:spMkLst>
            <pc:docMk/>
            <pc:sldMk cId="4278640136" sldId="3038"/>
            <ac:spMk id="87" creationId="{DAF62A58-1848-A131-55FB-71D1A9693322}"/>
          </ac:spMkLst>
        </pc:spChg>
        <pc:spChg chg="add del mod">
          <ac:chgData name="Otavio Augusto Sabia Gava" userId="68ac195b-011b-467c-86d4-321df89323d0" providerId="ADAL" clId="{0C687AD9-2800-41E2-AA69-D02ABC7EDD76}" dt="2023-11-28T17:02:59.565" v="19651"/>
          <ac:spMkLst>
            <pc:docMk/>
            <pc:sldMk cId="4278640136" sldId="3038"/>
            <ac:spMk id="88" creationId="{F9AAE3D0-EB80-197D-EBFD-2563A1127C59}"/>
          </ac:spMkLst>
        </pc:spChg>
        <pc:spChg chg="add del mod">
          <ac:chgData name="Otavio Augusto Sabia Gava" userId="68ac195b-011b-467c-86d4-321df89323d0" providerId="ADAL" clId="{0C687AD9-2800-41E2-AA69-D02ABC7EDD76}" dt="2023-11-28T17:02:59.565" v="19651"/>
          <ac:spMkLst>
            <pc:docMk/>
            <pc:sldMk cId="4278640136" sldId="3038"/>
            <ac:spMk id="89" creationId="{F919D1E9-BDA3-F34E-B095-ACEEE7D24778}"/>
          </ac:spMkLst>
        </pc:spChg>
        <pc:spChg chg="add del mod">
          <ac:chgData name="Otavio Augusto Sabia Gava" userId="68ac195b-011b-467c-86d4-321df89323d0" providerId="ADAL" clId="{0C687AD9-2800-41E2-AA69-D02ABC7EDD76}" dt="2023-11-28T17:02:59.565" v="19651"/>
          <ac:spMkLst>
            <pc:docMk/>
            <pc:sldMk cId="4278640136" sldId="3038"/>
            <ac:spMk id="90" creationId="{8385DA30-86B7-0AA1-80C1-0451239A2C41}"/>
          </ac:spMkLst>
        </pc:spChg>
        <pc:spChg chg="add del mod">
          <ac:chgData name="Otavio Augusto Sabia Gava" userId="68ac195b-011b-467c-86d4-321df89323d0" providerId="ADAL" clId="{0C687AD9-2800-41E2-AA69-D02ABC7EDD76}" dt="2023-11-28T17:02:56.810" v="19649"/>
          <ac:spMkLst>
            <pc:docMk/>
            <pc:sldMk cId="4278640136" sldId="3038"/>
            <ac:spMk id="91" creationId="{4AC1644B-DD80-164B-B666-7F7DE9A24F38}"/>
          </ac:spMkLst>
        </pc:spChg>
        <pc:spChg chg="add del mod">
          <ac:chgData name="Otavio Augusto Sabia Gava" userId="68ac195b-011b-467c-86d4-321df89323d0" providerId="ADAL" clId="{0C687AD9-2800-41E2-AA69-D02ABC7EDD76}" dt="2023-11-28T17:02:56.810" v="19649"/>
          <ac:spMkLst>
            <pc:docMk/>
            <pc:sldMk cId="4278640136" sldId="3038"/>
            <ac:spMk id="92" creationId="{FFE3B87E-E024-C534-5B4D-5B3743732372}"/>
          </ac:spMkLst>
        </pc:spChg>
        <pc:spChg chg="add del mod">
          <ac:chgData name="Otavio Augusto Sabia Gava" userId="68ac195b-011b-467c-86d4-321df89323d0" providerId="ADAL" clId="{0C687AD9-2800-41E2-AA69-D02ABC7EDD76}" dt="2023-11-28T17:02:56.810" v="19649"/>
          <ac:spMkLst>
            <pc:docMk/>
            <pc:sldMk cId="4278640136" sldId="3038"/>
            <ac:spMk id="93" creationId="{D69B0FCA-03EE-2F9A-BB8B-823B25525D14}"/>
          </ac:spMkLst>
        </pc:spChg>
        <pc:spChg chg="add del mod">
          <ac:chgData name="Otavio Augusto Sabia Gava" userId="68ac195b-011b-467c-86d4-321df89323d0" providerId="ADAL" clId="{0C687AD9-2800-41E2-AA69-D02ABC7EDD76}" dt="2023-11-28T17:02:56.810" v="19649"/>
          <ac:spMkLst>
            <pc:docMk/>
            <pc:sldMk cId="4278640136" sldId="3038"/>
            <ac:spMk id="94" creationId="{63D1ABE7-1CB2-81CB-C0D3-F10C13C1FC42}"/>
          </ac:spMkLst>
        </pc:spChg>
        <pc:spChg chg="add del mod">
          <ac:chgData name="Otavio Augusto Sabia Gava" userId="68ac195b-011b-467c-86d4-321df89323d0" providerId="ADAL" clId="{0C687AD9-2800-41E2-AA69-D02ABC7EDD76}" dt="2023-11-28T17:02:56.810" v="19649"/>
          <ac:spMkLst>
            <pc:docMk/>
            <pc:sldMk cId="4278640136" sldId="3038"/>
            <ac:spMk id="95" creationId="{DF7D2EF7-50FC-CB7B-F09C-89B062E74DF6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96" creationId="{92330413-5477-ADE9-5812-368B0F9C7D5C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97" creationId="{544133FB-D0DE-5A36-924C-E9BCB78CE716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98" creationId="{5FFA075E-867C-3ECA-C516-840E06A60123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99" creationId="{7A4A57CB-D44A-C7CD-9F3F-F3ADBB7C7DE1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100" creationId="{0B083925-7C11-71A9-D75B-B2B096061D9D}"/>
          </ac:spMkLst>
        </pc:spChg>
        <pc:spChg chg="add mod">
          <ac:chgData name="Otavio Augusto Sabia Gava" userId="68ac195b-011b-467c-86d4-321df89323d0" providerId="ADAL" clId="{0C687AD9-2800-41E2-AA69-D02ABC7EDD76}" dt="2023-11-28T17:03:24.759" v="19654" actId="1076"/>
          <ac:spMkLst>
            <pc:docMk/>
            <pc:sldMk cId="4278640136" sldId="3038"/>
            <ac:spMk id="101" creationId="{8A04C00F-C6C8-6685-3D63-FAE49128120A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2" creationId="{B7EB5E6D-4B81-5021-6A8F-0BBCA75B0C2F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3" creationId="{A5543F74-E0D1-0D29-8BCF-0F1DC087FE92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4" creationId="{C5F6D840-E26A-B618-3C13-752240B67E20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5" creationId="{9D5586FC-36FD-C4FC-09F6-0D79BD605DB4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6" creationId="{F3890070-8BBE-716C-C653-5AEDAF7960B8}"/>
          </ac:spMkLst>
        </pc:spChg>
        <pc:spChg chg="add mod">
          <ac:chgData name="Otavio Augusto Sabia Gava" userId="68ac195b-011b-467c-86d4-321df89323d0" providerId="ADAL" clId="{0C687AD9-2800-41E2-AA69-D02ABC7EDD76}" dt="2023-11-28T17:03:36.715" v="19656" actId="1076"/>
          <ac:spMkLst>
            <pc:docMk/>
            <pc:sldMk cId="4278640136" sldId="3038"/>
            <ac:spMk id="107" creationId="{2E4B9EFC-2E2F-3A9A-F258-08E31C80C62C}"/>
          </ac:spMkLst>
        </pc:spChg>
        <pc:spChg chg="add mod">
          <ac:chgData name="Otavio Augusto Sabia Gava" userId="68ac195b-011b-467c-86d4-321df89323d0" providerId="ADAL" clId="{0C687AD9-2800-41E2-AA69-D02ABC7EDD76}" dt="2023-11-28T17:26:00.580" v="19774" actId="208"/>
          <ac:spMkLst>
            <pc:docMk/>
            <pc:sldMk cId="4278640136" sldId="3038"/>
            <ac:spMk id="108" creationId="{ADF70A9C-36D8-B05E-F818-C380C0C96B18}"/>
          </ac:spMkLst>
        </pc:spChg>
        <pc:spChg chg="add mod">
          <ac:chgData name="Otavio Augusto Sabia Gava" userId="68ac195b-011b-467c-86d4-321df89323d0" providerId="ADAL" clId="{0C687AD9-2800-41E2-AA69-D02ABC7EDD76}" dt="2023-11-28T17:10:53.231" v="19762" actId="1035"/>
          <ac:spMkLst>
            <pc:docMk/>
            <pc:sldMk cId="4278640136" sldId="3038"/>
            <ac:spMk id="110" creationId="{7820951B-2F81-44D2-82FF-4B5C4F286C25}"/>
          </ac:spMkLst>
        </pc:spChg>
        <pc:spChg chg="add mod">
          <ac:chgData name="Otavio Augusto Sabia Gava" userId="68ac195b-011b-467c-86d4-321df89323d0" providerId="ADAL" clId="{0C687AD9-2800-41E2-AA69-D02ABC7EDD76}" dt="2023-11-28T17:26:00.580" v="19774" actId="208"/>
          <ac:spMkLst>
            <pc:docMk/>
            <pc:sldMk cId="4278640136" sldId="3038"/>
            <ac:spMk id="111" creationId="{0E683635-E0E6-DB66-EF73-24AD98F399CC}"/>
          </ac:spMkLst>
        </pc:spChg>
        <pc:spChg chg="add mod">
          <ac:chgData name="Otavio Augusto Sabia Gava" userId="68ac195b-011b-467c-86d4-321df89323d0" providerId="ADAL" clId="{0C687AD9-2800-41E2-AA69-D02ABC7EDD76}" dt="2023-11-28T17:10:58.104" v="19764" actId="1076"/>
          <ac:spMkLst>
            <pc:docMk/>
            <pc:sldMk cId="4278640136" sldId="3038"/>
            <ac:spMk id="113" creationId="{AF1F481F-12EC-F5E9-9DC3-F25F0D3F35B2}"/>
          </ac:spMkLst>
        </pc:spChg>
        <pc:picChg chg="del">
          <ac:chgData name="Otavio Augusto Sabia Gava" userId="68ac195b-011b-467c-86d4-321df89323d0" providerId="ADAL" clId="{0C687AD9-2800-41E2-AA69-D02ABC7EDD76}" dt="2023-11-28T16:20:44.434" v="19257" actId="478"/>
          <ac:picMkLst>
            <pc:docMk/>
            <pc:sldMk cId="4278640136" sldId="3038"/>
            <ac:picMk id="2" creationId="{AAB99338-0EF1-CF68-912F-0568E2BC2110}"/>
          </ac:picMkLst>
        </pc:picChg>
        <pc:picChg chg="add del mod">
          <ac:chgData name="Otavio Augusto Sabia Gava" userId="68ac195b-011b-467c-86d4-321df89323d0" providerId="ADAL" clId="{0C687AD9-2800-41E2-AA69-D02ABC7EDD76}" dt="2023-11-28T16:50:56.283" v="19410" actId="478"/>
          <ac:picMkLst>
            <pc:docMk/>
            <pc:sldMk cId="4278640136" sldId="3038"/>
            <ac:picMk id="7" creationId="{7E9BD9C3-7A21-521C-A087-9808E75CE8ED}"/>
          </ac:picMkLst>
        </pc:picChg>
        <pc:picChg chg="del mod">
          <ac:chgData name="Otavio Augusto Sabia Gava" userId="68ac195b-011b-467c-86d4-321df89323d0" providerId="ADAL" clId="{0C687AD9-2800-41E2-AA69-D02ABC7EDD76}" dt="2023-11-28T16:54:05.322" v="19493" actId="478"/>
          <ac:picMkLst>
            <pc:docMk/>
            <pc:sldMk cId="4278640136" sldId="3038"/>
            <ac:picMk id="9" creationId="{19AC255F-403F-33E6-FBD0-A41D49AD068D}"/>
          </ac:picMkLst>
        </pc:picChg>
        <pc:picChg chg="add del mod">
          <ac:chgData name="Otavio Augusto Sabia Gava" userId="68ac195b-011b-467c-86d4-321df89323d0" providerId="ADAL" clId="{0C687AD9-2800-41E2-AA69-D02ABC7EDD76}" dt="2023-11-28T17:10:35.912" v="19750" actId="478"/>
          <ac:picMkLst>
            <pc:docMk/>
            <pc:sldMk cId="4278640136" sldId="3038"/>
            <ac:picMk id="10" creationId="{DAA465EA-73A4-59B0-3843-EE469589D617}"/>
          </ac:picMkLst>
        </pc:picChg>
        <pc:picChg chg="del mod">
          <ac:chgData name="Otavio Augusto Sabia Gava" userId="68ac195b-011b-467c-86d4-321df89323d0" providerId="ADAL" clId="{0C687AD9-2800-41E2-AA69-D02ABC7EDD76}" dt="2023-11-28T16:58:03.009" v="19583" actId="478"/>
          <ac:picMkLst>
            <pc:docMk/>
            <pc:sldMk cId="4278640136" sldId="3038"/>
            <ac:picMk id="13" creationId="{31837182-35FD-BD06-5DA3-400597567CF6}"/>
          </ac:picMkLst>
        </pc:picChg>
        <pc:picChg chg="add del mod">
          <ac:chgData name="Otavio Augusto Sabia Gava" userId="68ac195b-011b-467c-86d4-321df89323d0" providerId="ADAL" clId="{0C687AD9-2800-41E2-AA69-D02ABC7EDD76}" dt="2023-11-28T17:10:35.912" v="19750" actId="478"/>
          <ac:picMkLst>
            <pc:docMk/>
            <pc:sldMk cId="4278640136" sldId="3038"/>
            <ac:picMk id="15" creationId="{96C78FD3-FAE3-017C-87DD-330E3F7C88B0}"/>
          </ac:picMkLst>
        </pc:picChg>
        <pc:picChg chg="add del mod">
          <ac:chgData name="Otavio Augusto Sabia Gava" userId="68ac195b-011b-467c-86d4-321df89323d0" providerId="ADAL" clId="{0C687AD9-2800-41E2-AA69-D02ABC7EDD76}" dt="2023-11-28T16:52:57.362" v="19455" actId="478"/>
          <ac:picMkLst>
            <pc:docMk/>
            <pc:sldMk cId="4278640136" sldId="3038"/>
            <ac:picMk id="25" creationId="{4A63D8C2-5B16-34A3-9469-B8734A0A02E7}"/>
          </ac:picMkLst>
        </pc:picChg>
        <pc:picChg chg="add mod">
          <ac:chgData name="Otavio Augusto Sabia Gava" userId="68ac195b-011b-467c-86d4-321df89323d0" providerId="ADAL" clId="{0C687AD9-2800-41E2-AA69-D02ABC7EDD76}" dt="2023-11-28T17:04:25.737" v="19678" actId="1035"/>
          <ac:picMkLst>
            <pc:docMk/>
            <pc:sldMk cId="4278640136" sldId="3038"/>
            <ac:picMk id="28" creationId="{A2F1B592-383A-2840-C03A-979A1E70489B}"/>
          </ac:picMkLst>
        </pc:picChg>
        <pc:picChg chg="add del mod">
          <ac:chgData name="Otavio Augusto Sabia Gava" userId="68ac195b-011b-467c-86d4-321df89323d0" providerId="ADAL" clId="{0C687AD9-2800-41E2-AA69-D02ABC7EDD76}" dt="2023-11-28T16:55:13.030" v="19523" actId="478"/>
          <ac:picMkLst>
            <pc:docMk/>
            <pc:sldMk cId="4278640136" sldId="3038"/>
            <ac:picMk id="31" creationId="{CE6E3E47-151C-6EDA-FA4E-24A61E82E389}"/>
          </ac:picMkLst>
        </pc:picChg>
        <pc:picChg chg="add del mod">
          <ac:chgData name="Otavio Augusto Sabia Gava" userId="68ac195b-011b-467c-86d4-321df89323d0" providerId="ADAL" clId="{0C687AD9-2800-41E2-AA69-D02ABC7EDD76}" dt="2023-11-28T16:55:51.372" v="19537" actId="478"/>
          <ac:picMkLst>
            <pc:docMk/>
            <pc:sldMk cId="4278640136" sldId="3038"/>
            <ac:picMk id="33" creationId="{63093F19-6CE5-AFF5-090E-1B076C8E92C7}"/>
          </ac:picMkLst>
        </pc:picChg>
        <pc:picChg chg="add mod">
          <ac:chgData name="Otavio Augusto Sabia Gava" userId="68ac195b-011b-467c-86d4-321df89323d0" providerId="ADAL" clId="{0C687AD9-2800-41E2-AA69-D02ABC7EDD76}" dt="2023-11-28T17:08:34.977" v="19732" actId="1035"/>
          <ac:picMkLst>
            <pc:docMk/>
            <pc:sldMk cId="4278640136" sldId="3038"/>
            <ac:picMk id="35" creationId="{B3C8BC73-E2FF-B68F-D280-A1104C112A76}"/>
          </ac:picMkLst>
        </pc:picChg>
        <pc:picChg chg="del">
          <ac:chgData name="Otavio Augusto Sabia Gava" userId="68ac195b-011b-467c-86d4-321df89323d0" providerId="ADAL" clId="{0C687AD9-2800-41E2-AA69-D02ABC7EDD76}" dt="2023-11-28T16:20:44.434" v="19257" actId="478"/>
          <ac:picMkLst>
            <pc:docMk/>
            <pc:sldMk cId="4278640136" sldId="3038"/>
            <ac:picMk id="51" creationId="{D8154E09-752E-4E9B-9CE8-9010F37DF55A}"/>
          </ac:picMkLst>
        </pc:picChg>
        <pc:picChg chg="del">
          <ac:chgData name="Otavio Augusto Sabia Gava" userId="68ac195b-011b-467c-86d4-321df89323d0" providerId="ADAL" clId="{0C687AD9-2800-41E2-AA69-D02ABC7EDD76}" dt="2023-11-28T16:20:44.434" v="19257" actId="478"/>
          <ac:picMkLst>
            <pc:docMk/>
            <pc:sldMk cId="4278640136" sldId="3038"/>
            <ac:picMk id="52" creationId="{B6773EC1-C8BC-9569-BF88-42C97640DF28}"/>
          </ac:picMkLst>
        </pc:picChg>
        <pc:picChg chg="del">
          <ac:chgData name="Otavio Augusto Sabia Gava" userId="68ac195b-011b-467c-86d4-321df89323d0" providerId="ADAL" clId="{0C687AD9-2800-41E2-AA69-D02ABC7EDD76}" dt="2023-11-28T16:20:44.434" v="19257" actId="478"/>
          <ac:picMkLst>
            <pc:docMk/>
            <pc:sldMk cId="4278640136" sldId="3038"/>
            <ac:picMk id="53" creationId="{CF659367-3CB1-2B3F-0BEB-FBE252A7AF81}"/>
          </ac:picMkLst>
        </pc:picChg>
        <pc:picChg chg="add del mod">
          <ac:chgData name="Otavio Augusto Sabia Gava" userId="68ac195b-011b-467c-86d4-321df89323d0" providerId="ADAL" clId="{0C687AD9-2800-41E2-AA69-D02ABC7EDD76}" dt="2023-11-28T16:56:33.731" v="19563" actId="478"/>
          <ac:picMkLst>
            <pc:docMk/>
            <pc:sldMk cId="4278640136" sldId="3038"/>
            <ac:picMk id="64" creationId="{A797314E-CB20-9C4C-1B74-CAFDD36A8CC7}"/>
          </ac:picMkLst>
        </pc:picChg>
        <pc:picChg chg="add del mod">
          <ac:chgData name="Otavio Augusto Sabia Gava" userId="68ac195b-011b-467c-86d4-321df89323d0" providerId="ADAL" clId="{0C687AD9-2800-41E2-AA69-D02ABC7EDD76}" dt="2023-11-28T16:57:35.714" v="19568" actId="478"/>
          <ac:picMkLst>
            <pc:docMk/>
            <pc:sldMk cId="4278640136" sldId="3038"/>
            <ac:picMk id="66" creationId="{D6008014-4611-03AC-AFE1-B5320DBE3BE0}"/>
          </ac:picMkLst>
        </pc:picChg>
        <pc:picChg chg="add mod">
          <ac:chgData name="Otavio Augusto Sabia Gava" userId="68ac195b-011b-467c-86d4-321df89323d0" providerId="ADAL" clId="{0C687AD9-2800-41E2-AA69-D02ABC7EDD76}" dt="2023-11-28T17:24:58.044" v="19772" actId="1035"/>
          <ac:picMkLst>
            <pc:docMk/>
            <pc:sldMk cId="4278640136" sldId="3038"/>
            <ac:picMk id="68" creationId="{DF26DADF-07EA-8BA1-CD27-06BF8384786A}"/>
          </ac:picMkLst>
        </pc:picChg>
        <pc:picChg chg="add del mod">
          <ac:chgData name="Otavio Augusto Sabia Gava" userId="68ac195b-011b-467c-86d4-321df89323d0" providerId="ADAL" clId="{0C687AD9-2800-41E2-AA69-D02ABC7EDD76}" dt="2023-11-28T16:58:06.881" v="19585"/>
          <ac:picMkLst>
            <pc:docMk/>
            <pc:sldMk cId="4278640136" sldId="3038"/>
            <ac:picMk id="71" creationId="{E7997171-D7BE-9D84-CFE0-F6B64736B5F5}"/>
          </ac:picMkLst>
        </pc:picChg>
        <pc:picChg chg="mod">
          <ac:chgData name="Otavio Augusto Sabia Gava" userId="68ac195b-011b-467c-86d4-321df89323d0" providerId="ADAL" clId="{0C687AD9-2800-41E2-AA69-D02ABC7EDD76}" dt="2023-11-28T17:25:05.063" v="19773" actId="1076"/>
          <ac:picMkLst>
            <pc:docMk/>
            <pc:sldMk cId="4278640136" sldId="3038"/>
            <ac:picMk id="74" creationId="{538664B7-7751-52BE-2150-33FC191131F3}"/>
          </ac:picMkLst>
        </pc:picChg>
        <pc:picChg chg="add mod">
          <ac:chgData name="Otavio Augusto Sabia Gava" userId="68ac195b-011b-467c-86d4-321df89323d0" providerId="ADAL" clId="{0C687AD9-2800-41E2-AA69-D02ABC7EDD76}" dt="2023-11-28T17:10:53.231" v="19762" actId="1035"/>
          <ac:picMkLst>
            <pc:docMk/>
            <pc:sldMk cId="4278640136" sldId="3038"/>
            <ac:picMk id="109" creationId="{3FA0D05C-2AB0-ADC5-EDFF-384A0991F48F}"/>
          </ac:picMkLst>
        </pc:picChg>
        <pc:picChg chg="add mod">
          <ac:chgData name="Otavio Augusto Sabia Gava" userId="68ac195b-011b-467c-86d4-321df89323d0" providerId="ADAL" clId="{0C687AD9-2800-41E2-AA69-D02ABC7EDD76}" dt="2023-11-28T17:10:58.104" v="19764" actId="1076"/>
          <ac:picMkLst>
            <pc:docMk/>
            <pc:sldMk cId="4278640136" sldId="3038"/>
            <ac:picMk id="112" creationId="{67AB14AF-5E41-3FD0-2422-C590B7D22BE7}"/>
          </ac:picMkLst>
        </pc:picChg>
        <pc:picChg chg="mod">
          <ac:chgData name="Otavio Augusto Sabia Gava" userId="68ac195b-011b-467c-86d4-321df89323d0" providerId="ADAL" clId="{0C687AD9-2800-41E2-AA69-D02ABC7EDD76}" dt="2023-11-28T17:10:24.224" v="19748" actId="1076"/>
          <ac:picMkLst>
            <pc:docMk/>
            <pc:sldMk cId="4278640136" sldId="3038"/>
            <ac:picMk id="1028" creationId="{4936FAEA-6F65-58BD-3406-787FFFADC025}"/>
          </ac:picMkLst>
        </pc:picChg>
        <pc:picChg chg="del">
          <ac:chgData name="Otavio Augusto Sabia Gava" userId="68ac195b-011b-467c-86d4-321df89323d0" providerId="ADAL" clId="{0C687AD9-2800-41E2-AA69-D02ABC7EDD76}" dt="2023-11-28T16:20:44.434" v="19257" actId="478"/>
          <ac:picMkLst>
            <pc:docMk/>
            <pc:sldMk cId="4278640136" sldId="3038"/>
            <ac:picMk id="1030" creationId="{79404F51-3DC3-AEEF-0491-0DDCCB774F8F}"/>
          </ac:picMkLst>
        </pc:picChg>
        <pc:cxnChg chg="del">
          <ac:chgData name="Otavio Augusto Sabia Gava" userId="68ac195b-011b-467c-86d4-321df89323d0" providerId="ADAL" clId="{0C687AD9-2800-41E2-AA69-D02ABC7EDD76}" dt="2023-11-28T16:20:36.855" v="19255" actId="478"/>
          <ac:cxnSpMkLst>
            <pc:docMk/>
            <pc:sldMk cId="4278640136" sldId="3038"/>
            <ac:cxnSpMk id="63" creationId="{57FFC24A-4D52-01EE-4D4C-E5ABABDB9EBD}"/>
          </ac:cxnSpMkLst>
        </pc:cxnChg>
      </pc:sldChg>
      <pc:sldChg chg="addSp modSp add mod">
        <pc:chgData name="Otavio Augusto Sabia Gava" userId="68ac195b-011b-467c-86d4-321df89323d0" providerId="ADAL" clId="{0C687AD9-2800-41E2-AA69-D02ABC7EDD76}" dt="2023-12-04T16:40:11.697" v="30222" actId="20577"/>
        <pc:sldMkLst>
          <pc:docMk/>
          <pc:sldMk cId="401339475" sldId="3039"/>
        </pc:sldMkLst>
        <pc:spChg chg="mod">
          <ac:chgData name="Otavio Augusto Sabia Gava" userId="68ac195b-011b-467c-86d4-321df89323d0" providerId="ADAL" clId="{0C687AD9-2800-41E2-AA69-D02ABC7EDD76}" dt="2023-11-28T19:49:10.658" v="21760"/>
          <ac:spMkLst>
            <pc:docMk/>
            <pc:sldMk cId="401339475" sldId="3039"/>
            <ac:spMk id="2" creationId="{D7D5B37F-16D5-6FF8-695E-4B4105FF89CB}"/>
          </ac:spMkLst>
        </pc:spChg>
        <pc:spChg chg="mod">
          <ac:chgData name="Otavio Augusto Sabia Gava" userId="68ac195b-011b-467c-86d4-321df89323d0" providerId="ADAL" clId="{0C687AD9-2800-41E2-AA69-D02ABC7EDD76}" dt="2023-11-30T14:03:46.983" v="28970"/>
          <ac:spMkLst>
            <pc:docMk/>
            <pc:sldMk cId="401339475" sldId="3039"/>
            <ac:spMk id="75" creationId="{49A65FBF-DDA2-BF6D-4B99-130840812EB6}"/>
          </ac:spMkLst>
        </pc:spChg>
        <pc:spChg chg="mod">
          <ac:chgData name="Otavio Augusto Sabia Gava" userId="68ac195b-011b-467c-86d4-321df89323d0" providerId="ADAL" clId="{0C687AD9-2800-41E2-AA69-D02ABC7EDD76}" dt="2023-11-29T17:46:46.074" v="28691" actId="20577"/>
          <ac:spMkLst>
            <pc:docMk/>
            <pc:sldMk cId="401339475" sldId="3039"/>
            <ac:spMk id="80" creationId="{23320BCB-A583-C35B-6F4F-191D42B10434}"/>
          </ac:spMkLst>
        </pc:spChg>
        <pc:graphicFrameChg chg="mod modGraphic">
          <ac:chgData name="Otavio Augusto Sabia Gava" userId="68ac195b-011b-467c-86d4-321df89323d0" providerId="ADAL" clId="{0C687AD9-2800-41E2-AA69-D02ABC7EDD76}" dt="2023-12-04T16:40:11.697" v="30222" actId="20577"/>
          <ac:graphicFrameMkLst>
            <pc:docMk/>
            <pc:sldMk cId="401339475" sldId="3039"/>
            <ac:graphicFrameMk id="79" creationId="{E657733D-1710-C132-E3B4-0C2A428E1581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8T19:41:52.623" v="21717" actId="1035"/>
          <ac:picMkLst>
            <pc:docMk/>
            <pc:sldMk cId="401339475" sldId="3039"/>
            <ac:picMk id="8" creationId="{FE3447E3-4F38-868A-1CB9-738E5903EFF7}"/>
          </ac:picMkLst>
        </pc:picChg>
        <pc:picChg chg="add mod">
          <ac:chgData name="Otavio Augusto Sabia Gava" userId="68ac195b-011b-467c-86d4-321df89323d0" providerId="ADAL" clId="{0C687AD9-2800-41E2-AA69-D02ABC7EDD76}" dt="2023-11-28T19:41:47.642" v="21711" actId="1038"/>
          <ac:picMkLst>
            <pc:docMk/>
            <pc:sldMk cId="401339475" sldId="3039"/>
            <ac:picMk id="9" creationId="{2EF7F7E8-B6EA-50EB-46C8-A153BD200576}"/>
          </ac:picMkLst>
        </pc:picChg>
        <pc:picChg chg="add mod">
          <ac:chgData name="Otavio Augusto Sabia Gava" userId="68ac195b-011b-467c-86d4-321df89323d0" providerId="ADAL" clId="{0C687AD9-2800-41E2-AA69-D02ABC7EDD76}" dt="2023-11-30T14:46:20.620" v="29928"/>
          <ac:picMkLst>
            <pc:docMk/>
            <pc:sldMk cId="401339475" sldId="3039"/>
            <ac:picMk id="10" creationId="{5CECC76A-51CB-F88E-AAB8-99A69AE4C5B3}"/>
          </ac:picMkLst>
        </pc:picChg>
      </pc:sldChg>
      <pc:sldChg chg="addSp modSp add del mod">
        <pc:chgData name="Otavio Augusto Sabia Gava" userId="68ac195b-011b-467c-86d4-321df89323d0" providerId="ADAL" clId="{0C687AD9-2800-41E2-AA69-D02ABC7EDD76}" dt="2023-11-28T19:15:05.126" v="21161" actId="2696"/>
        <pc:sldMkLst>
          <pc:docMk/>
          <pc:sldMk cId="2556650695" sldId="3040"/>
        </pc:sldMkLst>
        <pc:graphicFrameChg chg="mod modGraphic">
          <ac:chgData name="Otavio Augusto Sabia Gava" userId="68ac195b-011b-467c-86d4-321df89323d0" providerId="ADAL" clId="{0C687AD9-2800-41E2-AA69-D02ABC7EDD76}" dt="2023-11-28T19:14:19.783" v="21157" actId="20577"/>
          <ac:graphicFrameMkLst>
            <pc:docMk/>
            <pc:sldMk cId="2556650695" sldId="3040"/>
            <ac:graphicFrameMk id="62" creationId="{A49174F9-712C-BD58-B380-D639BCABC259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8T19:08:39.379" v="21082"/>
          <ac:picMkLst>
            <pc:docMk/>
            <pc:sldMk cId="2556650695" sldId="3040"/>
            <ac:picMk id="8" creationId="{FAC2C4C5-A482-79F9-E475-6B18D0F9594D}"/>
          </ac:picMkLst>
        </pc:picChg>
      </pc:sldChg>
      <pc:sldChg chg="addSp modSp add mod ord">
        <pc:chgData name="Otavio Augusto Sabia Gava" userId="68ac195b-011b-467c-86d4-321df89323d0" providerId="ADAL" clId="{0C687AD9-2800-41E2-AA69-D02ABC7EDD76}" dt="2023-11-29T17:55:22.828" v="28761"/>
        <pc:sldMkLst>
          <pc:docMk/>
          <pc:sldMk cId="1966984107" sldId="3041"/>
        </pc:sldMkLst>
        <pc:spChg chg="mod">
          <ac:chgData name="Otavio Augusto Sabia Gava" userId="68ac195b-011b-467c-86d4-321df89323d0" providerId="ADAL" clId="{0C687AD9-2800-41E2-AA69-D02ABC7EDD76}" dt="2023-11-28T19:51:04.904" v="21768"/>
          <ac:spMkLst>
            <pc:docMk/>
            <pc:sldMk cId="1966984107" sldId="3041"/>
            <ac:spMk id="4" creationId="{7CA0C2DF-A4D5-24F9-29B7-8876FEECC426}"/>
          </ac:spMkLst>
        </pc:spChg>
        <pc:spChg chg="mod">
          <ac:chgData name="Otavio Augusto Sabia Gava" userId="68ac195b-011b-467c-86d4-321df89323d0" providerId="ADAL" clId="{0C687AD9-2800-41E2-AA69-D02ABC7EDD76}" dt="2023-11-28T19:50:55.703" v="21767"/>
          <ac:spMkLst>
            <pc:docMk/>
            <pc:sldMk cId="1966984107" sldId="3041"/>
            <ac:spMk id="5" creationId="{2EADDCF9-6872-57FD-6F8F-449B376106D5}"/>
          </ac:spMkLst>
        </pc:spChg>
        <pc:spChg chg="mod">
          <ac:chgData name="Otavio Augusto Sabia Gava" userId="68ac195b-011b-467c-86d4-321df89323d0" providerId="ADAL" clId="{0C687AD9-2800-41E2-AA69-D02ABC7EDD76}" dt="2023-11-29T17:47:06.665" v="28721" actId="20577"/>
          <ac:spMkLst>
            <pc:docMk/>
            <pc:sldMk cId="1966984107" sldId="3041"/>
            <ac:spMk id="9" creationId="{9920B200-4893-B28F-8D58-64DB3776FFBE}"/>
          </ac:spMkLst>
        </pc:spChg>
        <pc:graphicFrameChg chg="mod modGraphic">
          <ac:chgData name="Otavio Augusto Sabia Gava" userId="68ac195b-011b-467c-86d4-321df89323d0" providerId="ADAL" clId="{0C687AD9-2800-41E2-AA69-D02ABC7EDD76}" dt="2023-11-29T15:40:14.203" v="26730" actId="20577"/>
          <ac:graphicFrameMkLst>
            <pc:docMk/>
            <pc:sldMk cId="1966984107" sldId="3041"/>
            <ac:graphicFrameMk id="43" creationId="{AC38E1DA-8CF7-744B-8E3B-85320FC8B541}"/>
          </ac:graphicFrameMkLst>
        </pc:graphicFrameChg>
        <pc:picChg chg="add mod">
          <ac:chgData name="Otavio Augusto Sabia Gava" userId="68ac195b-011b-467c-86d4-321df89323d0" providerId="ADAL" clId="{0C687AD9-2800-41E2-AA69-D02ABC7EDD76}" dt="2023-11-28T19:35:43.286" v="21574"/>
          <ac:picMkLst>
            <pc:docMk/>
            <pc:sldMk cId="1966984107" sldId="3041"/>
            <ac:picMk id="7" creationId="{E635A430-5F3D-6248-7211-484AB47DB549}"/>
          </ac:picMkLst>
        </pc:picChg>
        <pc:picChg chg="add mod">
          <ac:chgData name="Otavio Augusto Sabia Gava" userId="68ac195b-011b-467c-86d4-321df89323d0" providerId="ADAL" clId="{0C687AD9-2800-41E2-AA69-D02ABC7EDD76}" dt="2023-11-29T17:51:37.833" v="28749"/>
          <ac:picMkLst>
            <pc:docMk/>
            <pc:sldMk cId="1966984107" sldId="3041"/>
            <ac:picMk id="8" creationId="{4C772EE6-6110-E397-1BF3-D693F0CD4067}"/>
          </ac:picMkLst>
        </pc:picChg>
        <pc:picChg chg="add mod">
          <ac:chgData name="Otavio Augusto Sabia Gava" userId="68ac195b-011b-467c-86d4-321df89323d0" providerId="ADAL" clId="{0C687AD9-2800-41E2-AA69-D02ABC7EDD76}" dt="2023-11-29T17:52:16.067" v="28751" actId="1076"/>
          <ac:picMkLst>
            <pc:docMk/>
            <pc:sldMk cId="1966984107" sldId="3041"/>
            <ac:picMk id="13" creationId="{E9C1A5DC-E256-0A87-3F00-3053D7B8F4B7}"/>
          </ac:picMkLst>
        </pc:picChg>
        <pc:picChg chg="add mod">
          <ac:chgData name="Otavio Augusto Sabia Gava" userId="68ac195b-011b-467c-86d4-321df89323d0" providerId="ADAL" clId="{0C687AD9-2800-41E2-AA69-D02ABC7EDD76}" dt="2023-11-29T17:55:22.828" v="28761"/>
          <ac:picMkLst>
            <pc:docMk/>
            <pc:sldMk cId="1966984107" sldId="3041"/>
            <ac:picMk id="14" creationId="{9921D995-B85D-F23F-D07D-C4D008C565A5}"/>
          </ac:picMkLst>
        </pc:picChg>
      </pc:sldChg>
      <pc:sldChg chg="addSp delSp modSp add mod or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849654393" sldId="3042"/>
        </pc:sldMkLst>
        <pc:spChg chg="mod">
          <ac:chgData name="Otavio Augusto Sabia Gava" userId="68ac195b-011b-467c-86d4-321df89323d0" providerId="ADAL" clId="{0C687AD9-2800-41E2-AA69-D02ABC7EDD76}" dt="2023-11-30T14:46:48.823" v="29932" actId="207"/>
          <ac:spMkLst>
            <pc:docMk/>
            <pc:sldMk cId="849654393" sldId="3042"/>
            <ac:spMk id="7" creationId="{CE86A0E1-5542-CC1F-48ED-315AAAE38660}"/>
          </ac:spMkLst>
        </pc:spChg>
        <pc:spChg chg="mod">
          <ac:chgData name="Otavio Augusto Sabia Gava" userId="68ac195b-011b-467c-86d4-321df89323d0" providerId="ADAL" clId="{0C687AD9-2800-41E2-AA69-D02ABC7EDD76}" dt="2023-11-30T14:46:53.500" v="29934" actId="207"/>
          <ac:spMkLst>
            <pc:docMk/>
            <pc:sldMk cId="849654393" sldId="3042"/>
            <ac:spMk id="13" creationId="{15C3AB58-C706-FB73-E980-D688343516C2}"/>
          </ac:spMkLst>
        </pc:spChg>
        <pc:spChg chg="mod">
          <ac:chgData name="Otavio Augusto Sabia Gava" userId="68ac195b-011b-467c-86d4-321df89323d0" providerId="ADAL" clId="{0C687AD9-2800-41E2-AA69-D02ABC7EDD76}" dt="2023-11-30T14:46:51.510" v="29933" actId="207"/>
          <ac:spMkLst>
            <pc:docMk/>
            <pc:sldMk cId="849654393" sldId="3042"/>
            <ac:spMk id="15" creationId="{9FC6F174-98A9-C2AF-4C1A-A3335B82659A}"/>
          </ac:spMkLst>
        </pc:spChg>
        <pc:picChg chg="add mod">
          <ac:chgData name="Otavio Augusto Sabia Gava" userId="68ac195b-011b-467c-86d4-321df89323d0" providerId="ADAL" clId="{0C687AD9-2800-41E2-AA69-D02ABC7EDD76}" dt="2023-11-29T17:45:51.256" v="28662"/>
          <ac:picMkLst>
            <pc:docMk/>
            <pc:sldMk cId="849654393" sldId="3042"/>
            <ac:picMk id="3" creationId="{D11D1B40-9974-3F95-6DC8-D31566A9B087}"/>
          </ac:picMkLst>
        </pc:picChg>
        <pc:picChg chg="add del mod">
          <ac:chgData name="Otavio Augusto Sabia Gava" userId="68ac195b-011b-467c-86d4-321df89323d0" providerId="ADAL" clId="{0C687AD9-2800-41E2-AA69-D02ABC7EDD76}" dt="2023-11-29T17:42:23.844" v="28652" actId="478"/>
          <ac:picMkLst>
            <pc:docMk/>
            <pc:sldMk cId="849654393" sldId="3042"/>
            <ac:picMk id="4" creationId="{BB3910CF-32E4-0A0B-0081-E76523715401}"/>
          </ac:picMkLst>
        </pc:picChg>
        <pc:picChg chg="del">
          <ac:chgData name="Otavio Augusto Sabia Gava" userId="68ac195b-011b-467c-86d4-321df89323d0" providerId="ADAL" clId="{0C687AD9-2800-41E2-AA69-D02ABC7EDD76}" dt="2023-11-29T17:41:35.484" v="28638" actId="478"/>
          <ac:picMkLst>
            <pc:docMk/>
            <pc:sldMk cId="849654393" sldId="3042"/>
            <ac:picMk id="18" creationId="{4B0E0AFC-324C-C2E3-76E7-4F2E84B6559F}"/>
          </ac:picMkLst>
        </pc:picChg>
      </pc:sldChg>
      <pc:sldChg chg="addSp delSp modSp add del mod">
        <pc:chgData name="Otavio Augusto Sabia Gava" userId="68ac195b-011b-467c-86d4-321df89323d0" providerId="ADAL" clId="{0C687AD9-2800-41E2-AA69-D02ABC7EDD76}" dt="2023-11-28T20:01:33.566" v="22294" actId="47"/>
        <pc:sldMkLst>
          <pc:docMk/>
          <pc:sldMk cId="2219123180" sldId="3042"/>
        </pc:sldMkLst>
        <pc:spChg chg="del">
          <ac:chgData name="Otavio Augusto Sabia Gava" userId="68ac195b-011b-467c-86d4-321df89323d0" providerId="ADAL" clId="{0C687AD9-2800-41E2-AA69-D02ABC7EDD76}" dt="2023-11-28T20:01:08.149" v="22289" actId="478"/>
          <ac:spMkLst>
            <pc:docMk/>
            <pc:sldMk cId="2219123180" sldId="3042"/>
            <ac:spMk id="3" creationId="{CD22D6F7-DE97-98CE-38B4-E8B5C974C508}"/>
          </ac:spMkLst>
        </pc:spChg>
        <pc:spChg chg="del">
          <ac:chgData name="Otavio Augusto Sabia Gava" userId="68ac195b-011b-467c-86d4-321df89323d0" providerId="ADAL" clId="{0C687AD9-2800-41E2-AA69-D02ABC7EDD76}" dt="2023-11-28T20:01:08.149" v="22289" actId="478"/>
          <ac:spMkLst>
            <pc:docMk/>
            <pc:sldMk cId="2219123180" sldId="3042"/>
            <ac:spMk id="4" creationId="{00B658D0-B554-4D81-FB3B-7E63C5083496}"/>
          </ac:spMkLst>
        </pc:spChg>
        <pc:spChg chg="mod">
          <ac:chgData name="Otavio Augusto Sabia Gava" userId="68ac195b-011b-467c-86d4-321df89323d0" providerId="ADAL" clId="{0C687AD9-2800-41E2-AA69-D02ABC7EDD76}" dt="2023-11-28T20:01:04.185" v="22288" actId="20577"/>
          <ac:spMkLst>
            <pc:docMk/>
            <pc:sldMk cId="2219123180" sldId="3042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28T20:01:08.149" v="22289" actId="478"/>
          <ac:spMkLst>
            <pc:docMk/>
            <pc:sldMk cId="2219123180" sldId="3042"/>
            <ac:spMk id="6" creationId="{F865C81C-0ED5-A531-B900-B5EEB9CCA0C6}"/>
          </ac:spMkLst>
        </pc:spChg>
        <pc:spChg chg="del">
          <ac:chgData name="Otavio Augusto Sabia Gava" userId="68ac195b-011b-467c-86d4-321df89323d0" providerId="ADAL" clId="{0C687AD9-2800-41E2-AA69-D02ABC7EDD76}" dt="2023-11-28T20:01:08.149" v="22289" actId="478"/>
          <ac:spMkLst>
            <pc:docMk/>
            <pc:sldMk cId="2219123180" sldId="3042"/>
            <ac:spMk id="8" creationId="{3DCF3494-DABA-74A7-CF99-86E05B093256}"/>
          </ac:spMkLst>
        </pc:spChg>
        <pc:spChg chg="del">
          <ac:chgData name="Otavio Augusto Sabia Gava" userId="68ac195b-011b-467c-86d4-321df89323d0" providerId="ADAL" clId="{0C687AD9-2800-41E2-AA69-D02ABC7EDD76}" dt="2023-11-28T20:01:08.149" v="22289" actId="478"/>
          <ac:spMkLst>
            <pc:docMk/>
            <pc:sldMk cId="2219123180" sldId="3042"/>
            <ac:spMk id="10" creationId="{DF790A63-17DD-8352-A982-1AA016156D09}"/>
          </ac:spMkLst>
        </pc:spChg>
        <pc:spChg chg="del">
          <ac:chgData name="Otavio Augusto Sabia Gava" userId="68ac195b-011b-467c-86d4-321df89323d0" providerId="ADAL" clId="{0C687AD9-2800-41E2-AA69-D02ABC7EDD76}" dt="2023-11-28T20:01:10.771" v="22290" actId="478"/>
          <ac:spMkLst>
            <pc:docMk/>
            <pc:sldMk cId="2219123180" sldId="3042"/>
            <ac:spMk id="11" creationId="{11ACEBBC-E7EC-E1EF-E7A5-5E1A78C93DDC}"/>
          </ac:spMkLst>
        </pc:spChg>
        <pc:spChg chg="add mod">
          <ac:chgData name="Otavio Augusto Sabia Gava" userId="68ac195b-011b-467c-86d4-321df89323d0" providerId="ADAL" clId="{0C687AD9-2800-41E2-AA69-D02ABC7EDD76}" dt="2023-11-28T20:01:16.258" v="22291"/>
          <ac:spMkLst>
            <pc:docMk/>
            <pc:sldMk cId="2219123180" sldId="3042"/>
            <ac:spMk id="15" creationId="{457DFBE2-9C92-ABD7-BBB9-177E32CE6852}"/>
          </ac:spMkLst>
        </pc:spChg>
        <pc:spChg chg="add mod">
          <ac:chgData name="Otavio Augusto Sabia Gava" userId="68ac195b-011b-467c-86d4-321df89323d0" providerId="ADAL" clId="{0C687AD9-2800-41E2-AA69-D02ABC7EDD76}" dt="2023-11-28T20:01:16.258" v="22291"/>
          <ac:spMkLst>
            <pc:docMk/>
            <pc:sldMk cId="2219123180" sldId="3042"/>
            <ac:spMk id="16" creationId="{39D5DB1A-02D4-8956-D6DA-925BC97BC240}"/>
          </ac:spMkLst>
        </pc:spChg>
        <pc:graphicFrameChg chg="add mod">
          <ac:chgData name="Otavio Augusto Sabia Gava" userId="68ac195b-011b-467c-86d4-321df89323d0" providerId="ADAL" clId="{0C687AD9-2800-41E2-AA69-D02ABC7EDD76}" dt="2023-11-28T20:01:16.258" v="22291"/>
          <ac:graphicFrameMkLst>
            <pc:docMk/>
            <pc:sldMk cId="2219123180" sldId="3042"/>
            <ac:graphicFrameMk id="2" creationId="{CCF855C0-3947-C7AC-AF0C-8324AC5B3847}"/>
          </ac:graphicFrameMkLst>
        </pc:graphicFrameChg>
        <pc:graphicFrameChg chg="add del mod">
          <ac:chgData name="Otavio Augusto Sabia Gava" userId="68ac195b-011b-467c-86d4-321df89323d0" providerId="ADAL" clId="{0C687AD9-2800-41E2-AA69-D02ABC7EDD76}" dt="2023-11-28T20:01:23.642" v="22293" actId="478"/>
          <ac:graphicFrameMkLst>
            <pc:docMk/>
            <pc:sldMk cId="2219123180" sldId="3042"/>
            <ac:graphicFrameMk id="7" creationId="{80B971AE-A526-389F-52CA-8CB84F9D6ABB}"/>
          </ac:graphicFrameMkLst>
        </pc:graphicFrameChg>
        <pc:graphicFrameChg chg="add mod">
          <ac:chgData name="Otavio Augusto Sabia Gava" userId="68ac195b-011b-467c-86d4-321df89323d0" providerId="ADAL" clId="{0C687AD9-2800-41E2-AA69-D02ABC7EDD76}" dt="2023-11-28T20:01:16.258" v="22291"/>
          <ac:graphicFrameMkLst>
            <pc:docMk/>
            <pc:sldMk cId="2219123180" sldId="3042"/>
            <ac:graphicFrameMk id="9" creationId="{F7A09AF8-E469-5730-980C-89D594A02346}"/>
          </ac:graphicFrameMkLst>
        </pc:graphicFrameChg>
        <pc:graphicFrameChg chg="add mod">
          <ac:chgData name="Otavio Augusto Sabia Gava" userId="68ac195b-011b-467c-86d4-321df89323d0" providerId="ADAL" clId="{0C687AD9-2800-41E2-AA69-D02ABC7EDD76}" dt="2023-11-28T20:01:16.258" v="22291"/>
          <ac:graphicFrameMkLst>
            <pc:docMk/>
            <pc:sldMk cId="2219123180" sldId="3042"/>
            <ac:graphicFrameMk id="13" creationId="{B91C65D8-4025-0E19-42DF-8756D5E0CC81}"/>
          </ac:graphicFrameMkLst>
        </pc:graphicFrameChg>
        <pc:graphicFrameChg chg="add mod">
          <ac:chgData name="Otavio Augusto Sabia Gava" userId="68ac195b-011b-467c-86d4-321df89323d0" providerId="ADAL" clId="{0C687AD9-2800-41E2-AA69-D02ABC7EDD76}" dt="2023-11-28T20:01:16.258" v="22291"/>
          <ac:graphicFrameMkLst>
            <pc:docMk/>
            <pc:sldMk cId="2219123180" sldId="3042"/>
            <ac:graphicFrameMk id="14" creationId="{C75D1D15-4208-93F6-3B5C-7ABB01D65FCC}"/>
          </ac:graphicFrameMkLst>
        </pc:graphicFrameChg>
        <pc:picChg chg="del">
          <ac:chgData name="Otavio Augusto Sabia Gava" userId="68ac195b-011b-467c-86d4-321df89323d0" providerId="ADAL" clId="{0C687AD9-2800-41E2-AA69-D02ABC7EDD76}" dt="2023-11-28T20:01:08.149" v="22289" actId="478"/>
          <ac:picMkLst>
            <pc:docMk/>
            <pc:sldMk cId="2219123180" sldId="3042"/>
            <ac:picMk id="90" creationId="{A307619D-7E7E-9AF2-AC93-1D1D7315D7E7}"/>
          </ac:picMkLst>
        </pc:picChg>
      </pc:sldChg>
      <pc:sldChg chg="addSp delSp modSp add mod modAnim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3511466305" sldId="3043"/>
        </pc:sldMkLst>
        <pc:spChg chg="del">
          <ac:chgData name="Otavio Augusto Sabia Gava" userId="68ac195b-011b-467c-86d4-321df89323d0" providerId="ADAL" clId="{0C687AD9-2800-41E2-AA69-D02ABC7EDD76}" dt="2023-11-29T17:42:04.757" v="28646" actId="478"/>
          <ac:spMkLst>
            <pc:docMk/>
            <pc:sldMk cId="3511466305" sldId="3043"/>
            <ac:spMk id="2" creationId="{D4D08C8E-867B-145B-ED78-BD726DF932F8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6" creationId="{A7B763E0-F712-77E6-0582-D9A323A78E44}"/>
          </ac:spMkLst>
        </pc:spChg>
        <pc:spChg chg="del">
          <ac:chgData name="Otavio Augusto Sabia Gava" userId="68ac195b-011b-467c-86d4-321df89323d0" providerId="ADAL" clId="{0C687AD9-2800-41E2-AA69-D02ABC7EDD76}" dt="2023-11-29T17:42:04.757" v="28646" actId="478"/>
          <ac:spMkLst>
            <pc:docMk/>
            <pc:sldMk cId="3511466305" sldId="3043"/>
            <ac:spMk id="7" creationId="{CE86A0E1-5542-CC1F-48ED-315AAAE38660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8" creationId="{1AA3EED5-A080-78CE-BF5F-4DC29956361E}"/>
          </ac:spMkLst>
        </pc:spChg>
        <pc:spChg chg="del">
          <ac:chgData name="Otavio Augusto Sabia Gava" userId="68ac195b-011b-467c-86d4-321df89323d0" providerId="ADAL" clId="{0C687AD9-2800-41E2-AA69-D02ABC7EDD76}" dt="2023-11-29T17:42:13.273" v="28649" actId="478"/>
          <ac:spMkLst>
            <pc:docMk/>
            <pc:sldMk cId="3511466305" sldId="3043"/>
            <ac:spMk id="9" creationId="{219B05DE-8353-1F7C-CE2D-7B655E46E20C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10" creationId="{9E55575D-ADCD-3212-46D3-6A81FBC667D1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11" creationId="{A0C1BE03-34F5-D3F0-0A82-05EA4DD0914E}"/>
          </ac:spMkLst>
        </pc:spChg>
        <pc:spChg chg="del">
          <ac:chgData name="Otavio Augusto Sabia Gava" userId="68ac195b-011b-467c-86d4-321df89323d0" providerId="ADAL" clId="{0C687AD9-2800-41E2-AA69-D02ABC7EDD76}" dt="2023-11-29T17:42:32.145" v="28653" actId="478"/>
          <ac:spMkLst>
            <pc:docMk/>
            <pc:sldMk cId="3511466305" sldId="3043"/>
            <ac:spMk id="13" creationId="{15C3AB58-C706-FB73-E980-D688343516C2}"/>
          </ac:spMkLst>
        </pc:spChg>
        <pc:spChg chg="del">
          <ac:chgData name="Otavio Augusto Sabia Gava" userId="68ac195b-011b-467c-86d4-321df89323d0" providerId="ADAL" clId="{0C687AD9-2800-41E2-AA69-D02ABC7EDD76}" dt="2023-11-29T17:42:04.757" v="28646" actId="478"/>
          <ac:spMkLst>
            <pc:docMk/>
            <pc:sldMk cId="3511466305" sldId="3043"/>
            <ac:spMk id="14" creationId="{F1E8D39C-D7F9-8099-7A12-68FE1F572897}"/>
          </ac:spMkLst>
        </pc:spChg>
        <pc:spChg chg="del">
          <ac:chgData name="Otavio Augusto Sabia Gava" userId="68ac195b-011b-467c-86d4-321df89323d0" providerId="ADAL" clId="{0C687AD9-2800-41E2-AA69-D02ABC7EDD76}" dt="2023-11-29T17:42:04.757" v="28646" actId="478"/>
          <ac:spMkLst>
            <pc:docMk/>
            <pc:sldMk cId="3511466305" sldId="3043"/>
            <ac:spMk id="15" creationId="{9FC6F174-98A9-C2AF-4C1A-A3335B82659A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16" creationId="{73C5A4F4-5E2D-73AD-9247-CE389186F102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17" creationId="{CA4EA56C-1A56-667D-5C85-2D26861563D4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25" creationId="{490F3A7A-15EE-B431-62AE-D6223B30BC44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26" creationId="{B84E5E70-93D5-62A8-20FC-135D98B83458}"/>
          </ac:spMkLst>
        </pc:spChg>
        <pc:spChg chg="add mod">
          <ac:chgData name="Otavio Augusto Sabia Gava" userId="68ac195b-011b-467c-86d4-321df89323d0" providerId="ADAL" clId="{0C687AD9-2800-41E2-AA69-D02ABC7EDD76}" dt="2023-11-29T17:42:48.758" v="28654"/>
          <ac:spMkLst>
            <pc:docMk/>
            <pc:sldMk cId="3511466305" sldId="3043"/>
            <ac:spMk id="39" creationId="{BFAC3A5D-92F5-1064-1FBD-4C600753C572}"/>
          </ac:spMkLst>
        </pc:spChg>
        <pc:grpChg chg="add mod">
          <ac:chgData name="Otavio Augusto Sabia Gava" userId="68ac195b-011b-467c-86d4-321df89323d0" providerId="ADAL" clId="{0C687AD9-2800-41E2-AA69-D02ABC7EDD76}" dt="2023-11-29T17:42:48.758" v="28654"/>
          <ac:grpSpMkLst>
            <pc:docMk/>
            <pc:sldMk cId="3511466305" sldId="3043"/>
            <ac:grpSpMk id="35" creationId="{E469E6AF-3460-EECE-95C4-49ECDC162C01}"/>
          </ac:grpSpMkLst>
        </pc:grpChg>
        <pc:picChg chg="add mod">
          <ac:chgData name="Otavio Augusto Sabia Gava" userId="68ac195b-011b-467c-86d4-321df89323d0" providerId="ADAL" clId="{0C687AD9-2800-41E2-AA69-D02ABC7EDD76}" dt="2023-11-29T17:44:04.229" v="28657"/>
          <ac:picMkLst>
            <pc:docMk/>
            <pc:sldMk cId="3511466305" sldId="3043"/>
            <ac:picMk id="3" creationId="{91024ECB-C512-0AC9-300E-B53E7E2FE909}"/>
          </ac:picMkLst>
        </pc:picChg>
        <pc:picChg chg="add mod">
          <ac:chgData name="Otavio Augusto Sabia Gava" userId="68ac195b-011b-467c-86d4-321df89323d0" providerId="ADAL" clId="{0C687AD9-2800-41E2-AA69-D02ABC7EDD76}" dt="2023-11-29T17:44:12.876" v="28658"/>
          <ac:picMkLst>
            <pc:docMk/>
            <pc:sldMk cId="3511466305" sldId="3043"/>
            <ac:picMk id="4" creationId="{8851607A-2F67-54DA-43BA-191A74AEA246}"/>
          </ac:picMkLst>
        </pc:picChg>
        <pc:picChg chg="del">
          <ac:chgData name="Otavio Augusto Sabia Gava" userId="68ac195b-011b-467c-86d4-321df89323d0" providerId="ADAL" clId="{0C687AD9-2800-41E2-AA69-D02ABC7EDD76}" dt="2023-11-29T17:42:13.273" v="28649" actId="478"/>
          <ac:picMkLst>
            <pc:docMk/>
            <pc:sldMk cId="3511466305" sldId="3043"/>
            <ac:picMk id="12" creationId="{046F788C-427E-C8F3-66EA-55FBE298ED0B}"/>
          </ac:picMkLst>
        </pc:picChg>
        <pc:picChg chg="del">
          <ac:chgData name="Otavio Augusto Sabia Gava" userId="68ac195b-011b-467c-86d4-321df89323d0" providerId="ADAL" clId="{0C687AD9-2800-41E2-AA69-D02ABC7EDD76}" dt="2023-11-29T17:41:38.831" v="28640" actId="478"/>
          <ac:picMkLst>
            <pc:docMk/>
            <pc:sldMk cId="3511466305" sldId="3043"/>
            <ac:picMk id="18" creationId="{4B0E0AFC-324C-C2E3-76E7-4F2E84B6559F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19" creationId="{400D74AE-DBED-7EBB-2E07-09B6C1E1CDC3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0" creationId="{8F1C93A8-6092-7705-1C78-69ECDEE72D17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1" creationId="{0326D5F3-C863-298F-02C2-7275370E953F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2" creationId="{5AEE4D76-51BD-B361-6FCB-21095F38E57F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3" creationId="{CD42D9D1-F0A6-02C6-D9AE-281569456339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4" creationId="{92DE0D53-093C-BB70-69C0-982FB0E01170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7" creationId="{B0FD43BE-1FEC-6D92-7817-A0A697AB2C8C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8" creationId="{AC39BAF2-A997-4F35-D185-4AA1829DE171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29" creationId="{3AA13704-521A-1546-817B-5D423344AC9E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0" creationId="{E83205C0-8A9B-8EDF-1CF2-883BEC1986E2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1" creationId="{3062AA9A-8396-F2E7-7229-CB4214A424D3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2" creationId="{5EF53D6F-FD7D-9252-80B6-76D9FAB22616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3" creationId="{89E4BFE7-79A6-7641-D90F-038372D1FA4C}"/>
          </ac:picMkLst>
        </pc:picChg>
        <pc:picChg chg="add 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4" creationId="{EBC44EA7-3E57-BF67-F4DC-36D18286C0E2}"/>
          </ac:picMkLst>
        </pc:picChg>
        <pc:picChg chg="mod">
          <ac:chgData name="Otavio Augusto Sabia Gava" userId="68ac195b-011b-467c-86d4-321df89323d0" providerId="ADAL" clId="{0C687AD9-2800-41E2-AA69-D02ABC7EDD76}" dt="2023-11-29T17:42:48.758" v="28654"/>
          <ac:picMkLst>
            <pc:docMk/>
            <pc:sldMk cId="3511466305" sldId="3043"/>
            <ac:picMk id="36" creationId="{7D451A72-856A-A7D9-7F78-FE3DF68F0FC5}"/>
          </ac:picMkLst>
        </pc:picChg>
        <pc:picChg chg="del">
          <ac:chgData name="Otavio Augusto Sabia Gava" userId="68ac195b-011b-467c-86d4-321df89323d0" providerId="ADAL" clId="{0C687AD9-2800-41E2-AA69-D02ABC7EDD76}" dt="2023-11-29T17:42:04.757" v="28646" actId="478"/>
          <ac:picMkLst>
            <pc:docMk/>
            <pc:sldMk cId="3511466305" sldId="3043"/>
            <ac:picMk id="63" creationId="{D5827BA4-D515-A362-0932-F5FB4B35E178}"/>
          </ac:picMkLst>
        </pc:picChg>
        <pc:cxnChg chg="mod">
          <ac:chgData name="Otavio Augusto Sabia Gava" userId="68ac195b-011b-467c-86d4-321df89323d0" providerId="ADAL" clId="{0C687AD9-2800-41E2-AA69-D02ABC7EDD76}" dt="2023-11-29T17:42:48.758" v="28654"/>
          <ac:cxnSpMkLst>
            <pc:docMk/>
            <pc:sldMk cId="3511466305" sldId="3043"/>
            <ac:cxnSpMk id="37" creationId="{A3300BDA-2555-DE2C-38A9-B809DB87760D}"/>
          </ac:cxnSpMkLst>
        </pc:cxnChg>
        <pc:cxnChg chg="mod">
          <ac:chgData name="Otavio Augusto Sabia Gava" userId="68ac195b-011b-467c-86d4-321df89323d0" providerId="ADAL" clId="{0C687AD9-2800-41E2-AA69-D02ABC7EDD76}" dt="2023-11-29T17:42:48.758" v="28654"/>
          <ac:cxnSpMkLst>
            <pc:docMk/>
            <pc:sldMk cId="3511466305" sldId="3043"/>
            <ac:cxnSpMk id="38" creationId="{A1B10B5D-5965-9023-5A5E-B3B8B1C9923A}"/>
          </ac:cxnSpMkLst>
        </pc:cxnChg>
      </pc:sldChg>
      <pc:sldChg chg="addSp delSp modSp add del mod">
        <pc:chgData name="Otavio Augusto Sabia Gava" userId="68ac195b-011b-467c-86d4-321df89323d0" providerId="ADAL" clId="{0C687AD9-2800-41E2-AA69-D02ABC7EDD76}" dt="2023-12-04T17:10:28.826" v="30266" actId="47"/>
        <pc:sldMkLst>
          <pc:docMk/>
          <pc:sldMk cId="475996646" sldId="3044"/>
        </pc:sldMkLst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3" creationId="{658DF1D7-55B3-2ED2-FE26-57CF82EA1404}"/>
          </ac:spMkLst>
        </pc:spChg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4" creationId="{097D71B2-8A51-B94D-3AB5-B79DF4BC2AFB}"/>
          </ac:spMkLst>
        </pc:spChg>
        <pc:spChg chg="mod">
          <ac:chgData name="Otavio Augusto Sabia Gava" userId="68ac195b-011b-467c-86d4-321df89323d0" providerId="ADAL" clId="{0C687AD9-2800-41E2-AA69-D02ABC7EDD76}" dt="2023-11-29T17:49:04.605" v="28729" actId="20577"/>
          <ac:spMkLst>
            <pc:docMk/>
            <pc:sldMk cId="475996646" sldId="3044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6" creationId="{327FB2D6-5CFF-F703-6DB0-B29B5DB57487}"/>
          </ac:spMkLst>
        </pc:spChg>
        <pc:spChg chg="add mod">
          <ac:chgData name="Otavio Augusto Sabia Gava" userId="68ac195b-011b-467c-86d4-321df89323d0" providerId="ADAL" clId="{0C687AD9-2800-41E2-AA69-D02ABC7EDD76}" dt="2023-11-29T17:49:31.309" v="28734" actId="208"/>
          <ac:spMkLst>
            <pc:docMk/>
            <pc:sldMk cId="475996646" sldId="3044"/>
            <ac:spMk id="7" creationId="{0FE6422C-D5DA-078B-7839-18D796D471DE}"/>
          </ac:spMkLst>
        </pc:spChg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8" creationId="{565C0E27-E225-55FF-9E51-66EE7CA2A3BB}"/>
          </ac:spMkLst>
        </pc:spChg>
        <pc:spChg chg="add mod">
          <ac:chgData name="Otavio Augusto Sabia Gava" userId="68ac195b-011b-467c-86d4-321df89323d0" providerId="ADAL" clId="{0C687AD9-2800-41E2-AA69-D02ABC7EDD76}" dt="2023-11-29T20:36:50.133" v="28925" actId="1076"/>
          <ac:spMkLst>
            <pc:docMk/>
            <pc:sldMk cId="475996646" sldId="3044"/>
            <ac:spMk id="9" creationId="{C0E8803D-954A-9A56-FCC7-E2FDF39C6892}"/>
          </ac:spMkLst>
        </pc:spChg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10" creationId="{97A1EC31-01B4-4244-BFFF-8427A1D31282}"/>
          </ac:spMkLst>
        </pc:spChg>
        <pc:spChg chg="del">
          <ac:chgData name="Otavio Augusto Sabia Gava" userId="68ac195b-011b-467c-86d4-321df89323d0" providerId="ADAL" clId="{0C687AD9-2800-41E2-AA69-D02ABC7EDD76}" dt="2023-11-29T17:49:09.742" v="28730" actId="478"/>
          <ac:spMkLst>
            <pc:docMk/>
            <pc:sldMk cId="475996646" sldId="3044"/>
            <ac:spMk id="11" creationId="{A49B595F-2992-DFED-9F34-80D100585E07}"/>
          </ac:spMkLst>
        </pc:spChg>
        <pc:spChg chg="add mod">
          <ac:chgData name="Otavio Augusto Sabia Gava" userId="68ac195b-011b-467c-86d4-321df89323d0" providerId="ADAL" clId="{0C687AD9-2800-41E2-AA69-D02ABC7EDD76}" dt="2023-11-29T17:49:31.309" v="28734" actId="208"/>
          <ac:spMkLst>
            <pc:docMk/>
            <pc:sldMk cId="475996646" sldId="3044"/>
            <ac:spMk id="16" creationId="{C40506FA-A85A-81C7-519C-679D5ECAE17B}"/>
          </ac:spMkLst>
        </pc:spChg>
        <pc:spChg chg="add mod">
          <ac:chgData name="Otavio Augusto Sabia Gava" userId="68ac195b-011b-467c-86d4-321df89323d0" providerId="ADAL" clId="{0C687AD9-2800-41E2-AA69-D02ABC7EDD76}" dt="2023-11-29T20:36:56.606" v="28927" actId="1076"/>
          <ac:spMkLst>
            <pc:docMk/>
            <pc:sldMk cId="475996646" sldId="3044"/>
            <ac:spMk id="17" creationId="{D0F0D0E5-DCFD-87BB-4B80-859A84C273F7}"/>
          </ac:spMkLst>
        </pc:spChg>
        <pc:spChg chg="add mod">
          <ac:chgData name="Otavio Augusto Sabia Gava" userId="68ac195b-011b-467c-86d4-321df89323d0" providerId="ADAL" clId="{0C687AD9-2800-41E2-AA69-D02ABC7EDD76}" dt="2023-11-29T17:49:31.309" v="28734" actId="208"/>
          <ac:spMkLst>
            <pc:docMk/>
            <pc:sldMk cId="475996646" sldId="3044"/>
            <ac:spMk id="19" creationId="{ADACC633-0014-0C0E-BB1F-890747DE55DE}"/>
          </ac:spMkLst>
        </pc:spChg>
        <pc:spChg chg="add mod">
          <ac:chgData name="Otavio Augusto Sabia Gava" userId="68ac195b-011b-467c-86d4-321df89323d0" providerId="ADAL" clId="{0C687AD9-2800-41E2-AA69-D02ABC7EDD76}" dt="2023-11-29T20:37:07.652" v="28934" actId="1076"/>
          <ac:spMkLst>
            <pc:docMk/>
            <pc:sldMk cId="475996646" sldId="3044"/>
            <ac:spMk id="21" creationId="{ED50D112-5D65-E1A2-B250-21EF28F090BD}"/>
          </ac:spMkLst>
        </pc:spChg>
        <pc:spChg chg="add mod">
          <ac:chgData name="Otavio Augusto Sabia Gava" userId="68ac195b-011b-467c-86d4-321df89323d0" providerId="ADAL" clId="{0C687AD9-2800-41E2-AA69-D02ABC7EDD76}" dt="2023-11-29T17:49:31.309" v="28734" actId="208"/>
          <ac:spMkLst>
            <pc:docMk/>
            <pc:sldMk cId="475996646" sldId="3044"/>
            <ac:spMk id="22" creationId="{49A19922-C784-72B2-2CA7-D6EE23B85FE8}"/>
          </ac:spMkLst>
        </pc:spChg>
        <pc:spChg chg="add mod">
          <ac:chgData name="Otavio Augusto Sabia Gava" userId="68ac195b-011b-467c-86d4-321df89323d0" providerId="ADAL" clId="{0C687AD9-2800-41E2-AA69-D02ABC7EDD76}" dt="2023-11-29T20:37:15.046" v="28940" actId="1076"/>
          <ac:spMkLst>
            <pc:docMk/>
            <pc:sldMk cId="475996646" sldId="3044"/>
            <ac:spMk id="23" creationId="{261CDE78-461C-D1C4-8D2E-6A76AAE67C69}"/>
          </ac:spMkLst>
        </pc:spChg>
        <pc:picChg chg="add mod">
          <ac:chgData name="Otavio Augusto Sabia Gava" userId="68ac195b-011b-467c-86d4-321df89323d0" providerId="ADAL" clId="{0C687AD9-2800-41E2-AA69-D02ABC7EDD76}" dt="2023-11-29T17:50:13.623" v="28743" actId="207"/>
          <ac:picMkLst>
            <pc:docMk/>
            <pc:sldMk cId="475996646" sldId="3044"/>
            <ac:picMk id="2" creationId="{9A80B482-E468-E461-2437-6D2AC1BA90B7}"/>
          </ac:picMkLst>
        </pc:picChg>
        <pc:picChg chg="add mod">
          <ac:chgData name="Otavio Augusto Sabia Gava" userId="68ac195b-011b-467c-86d4-321df89323d0" providerId="ADAL" clId="{0C687AD9-2800-41E2-AA69-D02ABC7EDD76}" dt="2023-11-29T17:49:16.788" v="28732" actId="1076"/>
          <ac:picMkLst>
            <pc:docMk/>
            <pc:sldMk cId="475996646" sldId="3044"/>
            <ac:picMk id="12" creationId="{EB69149D-7923-2C96-5538-4F6ADAB8D4E8}"/>
          </ac:picMkLst>
        </pc:picChg>
        <pc:picChg chg="add mod">
          <ac:chgData name="Otavio Augusto Sabia Gava" userId="68ac195b-011b-467c-86d4-321df89323d0" providerId="ADAL" clId="{0C687AD9-2800-41E2-AA69-D02ABC7EDD76}" dt="2023-11-29T17:49:16.788" v="28732" actId="1076"/>
          <ac:picMkLst>
            <pc:docMk/>
            <pc:sldMk cId="475996646" sldId="3044"/>
            <ac:picMk id="13" creationId="{F746B53E-CCA5-1167-CB02-A393BDA08631}"/>
          </ac:picMkLst>
        </pc:picChg>
        <pc:picChg chg="add mod">
          <ac:chgData name="Otavio Augusto Sabia Gava" userId="68ac195b-011b-467c-86d4-321df89323d0" providerId="ADAL" clId="{0C687AD9-2800-41E2-AA69-D02ABC7EDD76}" dt="2023-11-29T17:49:16.788" v="28732" actId="1076"/>
          <ac:picMkLst>
            <pc:docMk/>
            <pc:sldMk cId="475996646" sldId="3044"/>
            <ac:picMk id="14" creationId="{5251B065-E65F-1173-09DE-AC34ECCE23AF}"/>
          </ac:picMkLst>
        </pc:picChg>
        <pc:picChg chg="add mod">
          <ac:chgData name="Otavio Augusto Sabia Gava" userId="68ac195b-011b-467c-86d4-321df89323d0" providerId="ADAL" clId="{0C687AD9-2800-41E2-AA69-D02ABC7EDD76}" dt="2023-11-29T17:49:16.788" v="28732" actId="1076"/>
          <ac:picMkLst>
            <pc:docMk/>
            <pc:sldMk cId="475996646" sldId="3044"/>
            <ac:picMk id="15" creationId="{72600462-8C07-9BC3-BED1-EB4DA7AA8F7A}"/>
          </ac:picMkLst>
        </pc:picChg>
        <pc:picChg chg="mod">
          <ac:chgData name="Otavio Augusto Sabia Gava" userId="68ac195b-011b-467c-86d4-321df89323d0" providerId="ADAL" clId="{0C687AD9-2800-41E2-AA69-D02ABC7EDD76}" dt="2023-11-29T17:51:10.164" v="28748"/>
          <ac:picMkLst>
            <pc:docMk/>
            <pc:sldMk cId="475996646" sldId="3044"/>
            <ac:picMk id="18" creationId="{4B0E0AFC-324C-C2E3-76E7-4F2E84B6559F}"/>
          </ac:picMkLst>
        </pc:picChg>
        <pc:picChg chg="add mod">
          <ac:chgData name="Otavio Augusto Sabia Gava" userId="68ac195b-011b-467c-86d4-321df89323d0" providerId="ADAL" clId="{0C687AD9-2800-41E2-AA69-D02ABC7EDD76}" dt="2023-11-29T17:49:16.788" v="28732" actId="1076"/>
          <ac:picMkLst>
            <pc:docMk/>
            <pc:sldMk cId="475996646" sldId="3044"/>
            <ac:picMk id="20" creationId="{37A47B8A-5AC1-D044-3B83-27BB9D3B8D45}"/>
          </ac:picMkLst>
        </pc:picChg>
      </pc:sldChg>
      <pc:sldChg chg="addSp delSp modSp add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2220478638" sldId="3045"/>
        </pc:sldMkLst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3" creationId="{658DF1D7-55B3-2ED2-FE26-57CF82EA1404}"/>
          </ac:spMkLst>
        </pc:spChg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4" creationId="{097D71B2-8A51-B94D-3AB5-B79DF4BC2AFB}"/>
          </ac:spMkLst>
        </pc:spChg>
        <pc:spChg chg="mod">
          <ac:chgData name="Otavio Augusto Sabia Gava" userId="68ac195b-011b-467c-86d4-321df89323d0" providerId="ADAL" clId="{0C687AD9-2800-41E2-AA69-D02ABC7EDD76}" dt="2023-11-30T14:00:28.633" v="28952" actId="20577"/>
          <ac:spMkLst>
            <pc:docMk/>
            <pc:sldMk cId="2220478638" sldId="3045"/>
            <ac:spMk id="5" creationId="{691BD817-ED31-4962-832B-1254437B69A3}"/>
          </ac:spMkLst>
        </pc:spChg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6" creationId="{327FB2D6-5CFF-F703-6DB0-B29B5DB57487}"/>
          </ac:spMkLst>
        </pc:spChg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8" creationId="{565C0E27-E225-55FF-9E51-66EE7CA2A3BB}"/>
          </ac:spMkLst>
        </pc:spChg>
        <pc:spChg chg="add mod">
          <ac:chgData name="Otavio Augusto Sabia Gava" userId="68ac195b-011b-467c-86d4-321df89323d0" providerId="ADAL" clId="{0C687AD9-2800-41E2-AA69-D02ABC7EDD76}" dt="2023-11-30T14:37:31.816" v="29278" actId="208"/>
          <ac:spMkLst>
            <pc:docMk/>
            <pc:sldMk cId="2220478638" sldId="3045"/>
            <ac:spMk id="9" creationId="{B528018F-4039-9A90-0426-8D304EBE1F9D}"/>
          </ac:spMkLst>
        </pc:spChg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10" creationId="{97A1EC31-01B4-4244-BFFF-8427A1D31282}"/>
          </ac:spMkLst>
        </pc:spChg>
        <pc:spChg chg="del">
          <ac:chgData name="Otavio Augusto Sabia Gava" userId="68ac195b-011b-467c-86d4-321df89323d0" providerId="ADAL" clId="{0C687AD9-2800-41E2-AA69-D02ABC7EDD76}" dt="2023-11-30T14:30:13.389" v="29185" actId="478"/>
          <ac:spMkLst>
            <pc:docMk/>
            <pc:sldMk cId="2220478638" sldId="3045"/>
            <ac:spMk id="11" creationId="{A49B595F-2992-DFED-9F34-80D100585E07}"/>
          </ac:spMkLst>
        </pc:spChg>
        <pc:spChg chg="add mod">
          <ac:chgData name="Otavio Augusto Sabia Gava" userId="68ac195b-011b-467c-86d4-321df89323d0" providerId="ADAL" clId="{0C687AD9-2800-41E2-AA69-D02ABC7EDD76}" dt="2023-12-04T11:43:35.081" v="30089" actId="2085"/>
          <ac:spMkLst>
            <pc:docMk/>
            <pc:sldMk cId="2220478638" sldId="3045"/>
            <ac:spMk id="12" creationId="{8DF74620-9CBB-E0C1-F508-5E23103938C8}"/>
          </ac:spMkLst>
        </pc:spChg>
        <pc:spChg chg="add mod">
          <ac:chgData name="Otavio Augusto Sabia Gava" userId="68ac195b-011b-467c-86d4-321df89323d0" providerId="ADAL" clId="{0C687AD9-2800-41E2-AA69-D02ABC7EDD76}" dt="2023-11-30T14:36:38.245" v="29217"/>
          <ac:spMkLst>
            <pc:docMk/>
            <pc:sldMk cId="2220478638" sldId="3045"/>
            <ac:spMk id="14" creationId="{421A15E9-FDAF-2A7E-5EC6-0DEE2EAD98D2}"/>
          </ac:spMkLst>
        </pc:spChg>
        <pc:spChg chg="add mod">
          <ac:chgData name="Otavio Augusto Sabia Gava" userId="68ac195b-011b-467c-86d4-321df89323d0" providerId="ADAL" clId="{0C687AD9-2800-41E2-AA69-D02ABC7EDD76}" dt="2023-11-30T14:36:38.245" v="29217"/>
          <ac:spMkLst>
            <pc:docMk/>
            <pc:sldMk cId="2220478638" sldId="3045"/>
            <ac:spMk id="15" creationId="{119BBA56-D4ED-ADB4-44EB-4276F869B578}"/>
          </ac:spMkLst>
        </pc:spChg>
        <pc:spChg chg="mod">
          <ac:chgData name="Otavio Augusto Sabia Gava" userId="68ac195b-011b-467c-86d4-321df89323d0" providerId="ADAL" clId="{0C687AD9-2800-41E2-AA69-D02ABC7EDD76}" dt="2023-11-30T14:36:39.212" v="29218"/>
          <ac:spMkLst>
            <pc:docMk/>
            <pc:sldMk cId="2220478638" sldId="3045"/>
            <ac:spMk id="17" creationId="{EE43B6B4-A0C9-EB47-25AD-C784DF456835}"/>
          </ac:spMkLst>
        </pc:spChg>
        <pc:spChg chg="mod">
          <ac:chgData name="Otavio Augusto Sabia Gava" userId="68ac195b-011b-467c-86d4-321df89323d0" providerId="ADAL" clId="{0C687AD9-2800-41E2-AA69-D02ABC7EDD76}" dt="2023-11-30T14:36:39.212" v="29218"/>
          <ac:spMkLst>
            <pc:docMk/>
            <pc:sldMk cId="2220478638" sldId="3045"/>
            <ac:spMk id="19" creationId="{B171E75A-91B9-8E3F-6248-21EC843ECBD9}"/>
          </ac:spMkLst>
        </pc:spChg>
        <pc:spChg chg="mod">
          <ac:chgData name="Otavio Augusto Sabia Gava" userId="68ac195b-011b-467c-86d4-321df89323d0" providerId="ADAL" clId="{0C687AD9-2800-41E2-AA69-D02ABC7EDD76}" dt="2023-11-30T14:39:43.838" v="29359" actId="14100"/>
          <ac:spMkLst>
            <pc:docMk/>
            <pc:sldMk cId="2220478638" sldId="3045"/>
            <ac:spMk id="21" creationId="{03C4F95D-ED46-E7E6-FFC6-90B6457943FF}"/>
          </ac:spMkLst>
        </pc:spChg>
        <pc:spChg chg="mod">
          <ac:chgData name="Otavio Augusto Sabia Gava" userId="68ac195b-011b-467c-86d4-321df89323d0" providerId="ADAL" clId="{0C687AD9-2800-41E2-AA69-D02ABC7EDD76}" dt="2023-12-04T11:43:47.726" v="30090" actId="2085"/>
          <ac:spMkLst>
            <pc:docMk/>
            <pc:sldMk cId="2220478638" sldId="3045"/>
            <ac:spMk id="22" creationId="{D3491F38-77FA-0B70-1F4F-03FBDA11A51E}"/>
          </ac:spMkLst>
        </pc:spChg>
        <pc:spChg chg="mod">
          <ac:chgData name="Otavio Augusto Sabia Gava" userId="68ac195b-011b-467c-86d4-321df89323d0" providerId="ADAL" clId="{0C687AD9-2800-41E2-AA69-D02ABC7EDD76}" dt="2023-11-30T14:37:31.816" v="29278" actId="208"/>
          <ac:spMkLst>
            <pc:docMk/>
            <pc:sldMk cId="2220478638" sldId="3045"/>
            <ac:spMk id="24" creationId="{2BC19A8B-A312-FA8D-AFE5-48BB6ADF12DF}"/>
          </ac:spMkLst>
        </pc:spChg>
        <pc:spChg chg="mod">
          <ac:chgData name="Otavio Augusto Sabia Gava" userId="68ac195b-011b-467c-86d4-321df89323d0" providerId="ADAL" clId="{0C687AD9-2800-41E2-AA69-D02ABC7EDD76}" dt="2023-12-04T11:43:52.927" v="30091" actId="2085"/>
          <ac:spMkLst>
            <pc:docMk/>
            <pc:sldMk cId="2220478638" sldId="3045"/>
            <ac:spMk id="25" creationId="{1A17FDE3-2B41-BDD6-43CF-1CD63788E4CE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26" creationId="{627F9975-DEA7-157D-5617-ED6900E4208E}"/>
          </ac:spMkLst>
        </pc:spChg>
        <pc:spChg chg="add del mod">
          <ac:chgData name="Otavio Augusto Sabia Gava" userId="68ac195b-011b-467c-86d4-321df89323d0" providerId="ADAL" clId="{0C687AD9-2800-41E2-AA69-D02ABC7EDD76}" dt="2023-11-30T14:38:07.276" v="29286"/>
          <ac:spMkLst>
            <pc:docMk/>
            <pc:sldMk cId="2220478638" sldId="3045"/>
            <ac:spMk id="27" creationId="{72EF29F3-6483-1D02-76B0-40CD3862C312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28" creationId="{0063A659-519B-4FEC-9987-64E1CD894153}"/>
          </ac:spMkLst>
        </pc:spChg>
        <pc:spChg chg="mod">
          <ac:chgData name="Otavio Augusto Sabia Gava" userId="68ac195b-011b-467c-86d4-321df89323d0" providerId="ADAL" clId="{0C687AD9-2800-41E2-AA69-D02ABC7EDD76}" dt="2023-12-04T11:44:04.603" v="30095" actId="2085"/>
          <ac:spMkLst>
            <pc:docMk/>
            <pc:sldMk cId="2220478638" sldId="3045"/>
            <ac:spMk id="30" creationId="{3650CE41-CD88-4DB7-7C57-DF4F96E29173}"/>
          </ac:spMkLst>
        </pc:spChg>
        <pc:spChg chg="mod">
          <ac:chgData name="Otavio Augusto Sabia Gava" userId="68ac195b-011b-467c-86d4-321df89323d0" providerId="ADAL" clId="{0C687AD9-2800-41E2-AA69-D02ABC7EDD76}" dt="2023-12-04T11:45:45.641" v="30123" actId="2085"/>
          <ac:spMkLst>
            <pc:docMk/>
            <pc:sldMk cId="2220478638" sldId="3045"/>
            <ac:spMk id="31" creationId="{37B18122-1690-2238-7191-5AE977BEDD24}"/>
          </ac:spMkLst>
        </pc:spChg>
        <pc:spChg chg="add del mod">
          <ac:chgData name="Otavio Augusto Sabia Gava" userId="68ac195b-011b-467c-86d4-321df89323d0" providerId="ADAL" clId="{0C687AD9-2800-41E2-AA69-D02ABC7EDD76}" dt="2023-11-30T14:39:00.638" v="29313" actId="478"/>
          <ac:spMkLst>
            <pc:docMk/>
            <pc:sldMk cId="2220478638" sldId="3045"/>
            <ac:spMk id="32" creationId="{1B864D5E-612A-527B-C3A3-349B0B17B95E}"/>
          </ac:spMkLst>
        </pc:spChg>
        <pc:spChg chg="mod topLvl">
          <ac:chgData name="Otavio Augusto Sabia Gava" userId="68ac195b-011b-467c-86d4-321df89323d0" providerId="ADAL" clId="{0C687AD9-2800-41E2-AA69-D02ABC7EDD76}" dt="2023-11-30T14:39:28.010" v="29352" actId="478"/>
          <ac:spMkLst>
            <pc:docMk/>
            <pc:sldMk cId="2220478638" sldId="3045"/>
            <ac:spMk id="34" creationId="{DACE2181-73B8-DD65-7BFE-43C9D9AF3BAB}"/>
          </ac:spMkLst>
        </pc:spChg>
        <pc:spChg chg="add del mod topLvl">
          <ac:chgData name="Otavio Augusto Sabia Gava" userId="68ac195b-011b-467c-86d4-321df89323d0" providerId="ADAL" clId="{0C687AD9-2800-41E2-AA69-D02ABC7EDD76}" dt="2023-11-30T14:39:33.322" v="29354" actId="14100"/>
          <ac:spMkLst>
            <pc:docMk/>
            <pc:sldMk cId="2220478638" sldId="3045"/>
            <ac:spMk id="35" creationId="{CB6BD3BB-9390-C512-3415-F091DCA5B5F9}"/>
          </ac:spMkLst>
        </pc:spChg>
        <pc:spChg chg="add del mod">
          <ac:chgData name="Otavio Augusto Sabia Gava" userId="68ac195b-011b-467c-86d4-321df89323d0" providerId="ADAL" clId="{0C687AD9-2800-41E2-AA69-D02ABC7EDD76}" dt="2023-11-30T14:39:19.510" v="29346"/>
          <ac:spMkLst>
            <pc:docMk/>
            <pc:sldMk cId="2220478638" sldId="3045"/>
            <ac:spMk id="36" creationId="{E4FEBB8D-A1A1-0A24-EC87-887F45682D90}"/>
          </ac:spMkLst>
        </pc:spChg>
        <pc:spChg chg="add del mod">
          <ac:chgData name="Otavio Augusto Sabia Gava" userId="68ac195b-011b-467c-86d4-321df89323d0" providerId="ADAL" clId="{0C687AD9-2800-41E2-AA69-D02ABC7EDD76}" dt="2023-11-30T14:39:22.778" v="29350"/>
          <ac:spMkLst>
            <pc:docMk/>
            <pc:sldMk cId="2220478638" sldId="3045"/>
            <ac:spMk id="37" creationId="{C107F2D9-30BF-540D-8F04-D206EF17DA40}"/>
          </ac:spMkLst>
        </pc:spChg>
        <pc:spChg chg="add mod">
          <ac:chgData name="Otavio Augusto Sabia Gava" userId="68ac195b-011b-467c-86d4-321df89323d0" providerId="ADAL" clId="{0C687AD9-2800-41E2-AA69-D02ABC7EDD76}" dt="2023-11-30T14:39:22.267" v="29349" actId="571"/>
          <ac:spMkLst>
            <pc:docMk/>
            <pc:sldMk cId="2220478638" sldId="3045"/>
            <ac:spMk id="38" creationId="{B055F11A-B92D-CBE1-27C8-BD0F1E894213}"/>
          </ac:spMkLst>
        </pc:spChg>
        <pc:spChg chg="mod">
          <ac:chgData name="Otavio Augusto Sabia Gava" userId="68ac195b-011b-467c-86d4-321df89323d0" providerId="ADAL" clId="{0C687AD9-2800-41E2-AA69-D02ABC7EDD76}" dt="2023-11-30T14:40:08.480" v="29366"/>
          <ac:spMkLst>
            <pc:docMk/>
            <pc:sldMk cId="2220478638" sldId="3045"/>
            <ac:spMk id="40" creationId="{D2B094AE-3991-B104-6EF9-E518F6EC9E89}"/>
          </ac:spMkLst>
        </pc:spChg>
        <pc:spChg chg="mod">
          <ac:chgData name="Otavio Augusto Sabia Gava" userId="68ac195b-011b-467c-86d4-321df89323d0" providerId="ADAL" clId="{0C687AD9-2800-41E2-AA69-D02ABC7EDD76}" dt="2023-12-04T11:44:10.031" v="30096" actId="2085"/>
          <ac:spMkLst>
            <pc:docMk/>
            <pc:sldMk cId="2220478638" sldId="3045"/>
            <ac:spMk id="41" creationId="{E91E073A-4775-7745-9805-E54D7F58D913}"/>
          </ac:spMkLst>
        </pc:spChg>
        <pc:spChg chg="mod">
          <ac:chgData name="Otavio Augusto Sabia Gava" userId="68ac195b-011b-467c-86d4-321df89323d0" providerId="ADAL" clId="{0C687AD9-2800-41E2-AA69-D02ABC7EDD76}" dt="2023-11-30T14:40:28.792" v="29419"/>
          <ac:spMkLst>
            <pc:docMk/>
            <pc:sldMk cId="2220478638" sldId="3045"/>
            <ac:spMk id="43" creationId="{FA4A565A-EBAC-9C33-73B7-4186F624DE50}"/>
          </ac:spMkLst>
        </pc:spChg>
        <pc:spChg chg="mod">
          <ac:chgData name="Otavio Augusto Sabia Gava" userId="68ac195b-011b-467c-86d4-321df89323d0" providerId="ADAL" clId="{0C687AD9-2800-41E2-AA69-D02ABC7EDD76}" dt="2023-12-04T11:44:15.750" v="30097" actId="2085"/>
          <ac:spMkLst>
            <pc:docMk/>
            <pc:sldMk cId="2220478638" sldId="3045"/>
            <ac:spMk id="44" creationId="{F2CAA0CB-D2DB-A535-59E1-863376E35146}"/>
          </ac:spMkLst>
        </pc:spChg>
        <pc:spChg chg="mod">
          <ac:chgData name="Otavio Augusto Sabia Gava" userId="68ac195b-011b-467c-86d4-321df89323d0" providerId="ADAL" clId="{0C687AD9-2800-41E2-AA69-D02ABC7EDD76}" dt="2023-11-30T14:40:47.935" v="29457"/>
          <ac:spMkLst>
            <pc:docMk/>
            <pc:sldMk cId="2220478638" sldId="3045"/>
            <ac:spMk id="46" creationId="{28DBF83B-CBC9-244B-CA84-DAEF0BA5D298}"/>
          </ac:spMkLst>
        </pc:spChg>
        <pc:spChg chg="mod">
          <ac:chgData name="Otavio Augusto Sabia Gava" userId="68ac195b-011b-467c-86d4-321df89323d0" providerId="ADAL" clId="{0C687AD9-2800-41E2-AA69-D02ABC7EDD76}" dt="2023-12-04T11:44:20.073" v="30098" actId="2085"/>
          <ac:spMkLst>
            <pc:docMk/>
            <pc:sldMk cId="2220478638" sldId="3045"/>
            <ac:spMk id="47" creationId="{1633B148-2FB0-8A36-9992-D2A4CA41F015}"/>
          </ac:spMkLst>
        </pc:spChg>
        <pc:spChg chg="mod">
          <ac:chgData name="Otavio Augusto Sabia Gava" userId="68ac195b-011b-467c-86d4-321df89323d0" providerId="ADAL" clId="{0C687AD9-2800-41E2-AA69-D02ABC7EDD76}" dt="2023-11-30T14:41:05.213" v="29490"/>
          <ac:spMkLst>
            <pc:docMk/>
            <pc:sldMk cId="2220478638" sldId="3045"/>
            <ac:spMk id="49" creationId="{B1D4ECD8-856F-B246-ED8E-56AF7032165C}"/>
          </ac:spMkLst>
        </pc:spChg>
        <pc:spChg chg="mod">
          <ac:chgData name="Otavio Augusto Sabia Gava" userId="68ac195b-011b-467c-86d4-321df89323d0" providerId="ADAL" clId="{0C687AD9-2800-41E2-AA69-D02ABC7EDD76}" dt="2023-12-04T11:44:24.934" v="30099" actId="2085"/>
          <ac:spMkLst>
            <pc:docMk/>
            <pc:sldMk cId="2220478638" sldId="3045"/>
            <ac:spMk id="50" creationId="{E8D8088B-7760-F108-13EF-1818EEF2063D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51" creationId="{1AD37BB8-4AF0-4698-934F-EC06435BF548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52" creationId="{9325E977-100E-A69C-D930-E4CA7A936883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53" creationId="{5795A964-4F02-C988-DD02-D1A7DC5769D1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54" creationId="{CB4D2AD3-0D2D-E517-19EB-951FC33EDA4E}"/>
          </ac:spMkLst>
        </pc:spChg>
        <pc:spChg chg="add del mod">
          <ac:chgData name="Otavio Augusto Sabia Gava" userId="68ac195b-011b-467c-86d4-321df89323d0" providerId="ADAL" clId="{0C687AD9-2800-41E2-AA69-D02ABC7EDD76}" dt="2023-11-30T14:42:24.459" v="29553" actId="478"/>
          <ac:spMkLst>
            <pc:docMk/>
            <pc:sldMk cId="2220478638" sldId="3045"/>
            <ac:spMk id="55" creationId="{30DAABF8-794A-97E7-8275-EBD389D8726F}"/>
          </ac:spMkLst>
        </pc:spChg>
        <pc:spChg chg="mod">
          <ac:chgData name="Otavio Augusto Sabia Gava" userId="68ac195b-011b-467c-86d4-321df89323d0" providerId="ADAL" clId="{0C687AD9-2800-41E2-AA69-D02ABC7EDD76}" dt="2023-11-30T14:42:32.198" v="29554"/>
          <ac:spMkLst>
            <pc:docMk/>
            <pc:sldMk cId="2220478638" sldId="3045"/>
            <ac:spMk id="57" creationId="{2F7E41A8-4A7F-041A-6998-C5218A99C9E9}"/>
          </ac:spMkLst>
        </pc:spChg>
        <pc:spChg chg="mod">
          <ac:chgData name="Otavio Augusto Sabia Gava" userId="68ac195b-011b-467c-86d4-321df89323d0" providerId="ADAL" clId="{0C687AD9-2800-41E2-AA69-D02ABC7EDD76}" dt="2023-12-04T11:44:29.279" v="30100" actId="2085"/>
          <ac:spMkLst>
            <pc:docMk/>
            <pc:sldMk cId="2220478638" sldId="3045"/>
            <ac:spMk id="58" creationId="{D97F0477-34F6-C986-F020-872FCBDC6A0E}"/>
          </ac:spMkLst>
        </pc:spChg>
        <pc:spChg chg="mod">
          <ac:chgData name="Otavio Augusto Sabia Gava" userId="68ac195b-011b-467c-86d4-321df89323d0" providerId="ADAL" clId="{0C687AD9-2800-41E2-AA69-D02ABC7EDD76}" dt="2023-11-30T14:42:46.518" v="29590"/>
          <ac:spMkLst>
            <pc:docMk/>
            <pc:sldMk cId="2220478638" sldId="3045"/>
            <ac:spMk id="60" creationId="{2BEA2369-511C-2F15-91A3-80025EE37BD7}"/>
          </ac:spMkLst>
        </pc:spChg>
        <pc:spChg chg="mod">
          <ac:chgData name="Otavio Augusto Sabia Gava" userId="68ac195b-011b-467c-86d4-321df89323d0" providerId="ADAL" clId="{0C687AD9-2800-41E2-AA69-D02ABC7EDD76}" dt="2023-12-04T11:44:33.537" v="30101" actId="2085"/>
          <ac:spMkLst>
            <pc:docMk/>
            <pc:sldMk cId="2220478638" sldId="3045"/>
            <ac:spMk id="61" creationId="{38DBA006-8BA0-0944-493A-D1FEC03966B7}"/>
          </ac:spMkLst>
        </pc:spChg>
        <pc:spChg chg="mod">
          <ac:chgData name="Otavio Augusto Sabia Gava" userId="68ac195b-011b-467c-86d4-321df89323d0" providerId="ADAL" clId="{0C687AD9-2800-41E2-AA69-D02ABC7EDD76}" dt="2023-11-30T14:43:08.047" v="29641"/>
          <ac:spMkLst>
            <pc:docMk/>
            <pc:sldMk cId="2220478638" sldId="3045"/>
            <ac:spMk id="63" creationId="{D2536C04-222B-7F5D-B4D9-C9310BFFF6B4}"/>
          </ac:spMkLst>
        </pc:spChg>
        <pc:spChg chg="mod">
          <ac:chgData name="Otavio Augusto Sabia Gava" userId="68ac195b-011b-467c-86d4-321df89323d0" providerId="ADAL" clId="{0C687AD9-2800-41E2-AA69-D02ABC7EDD76}" dt="2023-12-04T11:44:37.543" v="30102" actId="2085"/>
          <ac:spMkLst>
            <pc:docMk/>
            <pc:sldMk cId="2220478638" sldId="3045"/>
            <ac:spMk id="64" creationId="{1E6F0A4A-7FDD-88DB-BB19-0BC5B6012126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65" creationId="{CED8A0EF-63C6-EB8C-71F9-A8D16C830F70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66" creationId="{78C97B18-F878-BA91-4CC6-E8B15D307A38}"/>
          </ac:spMkLst>
        </pc:spChg>
        <pc:spChg chg="mod">
          <ac:chgData name="Otavio Augusto Sabia Gava" userId="68ac195b-011b-467c-86d4-321df89323d0" providerId="ADAL" clId="{0C687AD9-2800-41E2-AA69-D02ABC7EDD76}" dt="2023-11-30T14:43:39.228" v="29690"/>
          <ac:spMkLst>
            <pc:docMk/>
            <pc:sldMk cId="2220478638" sldId="3045"/>
            <ac:spMk id="68" creationId="{D5B0A3AA-DF25-FACA-698E-92797A7EDA2F}"/>
          </ac:spMkLst>
        </pc:spChg>
        <pc:spChg chg="mod">
          <ac:chgData name="Otavio Augusto Sabia Gava" userId="68ac195b-011b-467c-86d4-321df89323d0" providerId="ADAL" clId="{0C687AD9-2800-41E2-AA69-D02ABC7EDD76}" dt="2023-12-04T11:44:41.760" v="30103" actId="2085"/>
          <ac:spMkLst>
            <pc:docMk/>
            <pc:sldMk cId="2220478638" sldId="3045"/>
            <ac:spMk id="69" creationId="{E1D2EC66-602F-BE47-AB98-11E0ED58FD2F}"/>
          </ac:spMkLst>
        </pc:spChg>
        <pc:spChg chg="mod">
          <ac:chgData name="Otavio Augusto Sabia Gava" userId="68ac195b-011b-467c-86d4-321df89323d0" providerId="ADAL" clId="{0C687AD9-2800-41E2-AA69-D02ABC7EDD76}" dt="2023-11-30T14:43:39.228" v="29690"/>
          <ac:spMkLst>
            <pc:docMk/>
            <pc:sldMk cId="2220478638" sldId="3045"/>
            <ac:spMk id="71" creationId="{94E0974E-EFE6-4B30-2ECB-5EC336CED786}"/>
          </ac:spMkLst>
        </pc:spChg>
        <pc:spChg chg="mod">
          <ac:chgData name="Otavio Augusto Sabia Gava" userId="68ac195b-011b-467c-86d4-321df89323d0" providerId="ADAL" clId="{0C687AD9-2800-41E2-AA69-D02ABC7EDD76}" dt="2023-12-04T11:45:26.626" v="30120" actId="2085"/>
          <ac:spMkLst>
            <pc:docMk/>
            <pc:sldMk cId="2220478638" sldId="3045"/>
            <ac:spMk id="72" creationId="{C7D8BC76-1DA7-B87B-47E3-F8BD16125602}"/>
          </ac:spMkLst>
        </pc:spChg>
        <pc:spChg chg="mod">
          <ac:chgData name="Otavio Augusto Sabia Gava" userId="68ac195b-011b-467c-86d4-321df89323d0" providerId="ADAL" clId="{0C687AD9-2800-41E2-AA69-D02ABC7EDD76}" dt="2023-12-04T11:45:24.449" v="30118" actId="2085"/>
          <ac:spMkLst>
            <pc:docMk/>
            <pc:sldMk cId="2220478638" sldId="3045"/>
            <ac:spMk id="74" creationId="{6127F284-BFA3-ECDA-38DD-CB15EAA44C0F}"/>
          </ac:spMkLst>
        </pc:spChg>
        <pc:spChg chg="mod">
          <ac:chgData name="Otavio Augusto Sabia Gava" userId="68ac195b-011b-467c-86d4-321df89323d0" providerId="ADAL" clId="{0C687AD9-2800-41E2-AA69-D02ABC7EDD76}" dt="2023-12-04T11:46:02.257" v="30124" actId="2085"/>
          <ac:spMkLst>
            <pc:docMk/>
            <pc:sldMk cId="2220478638" sldId="3045"/>
            <ac:spMk id="75" creationId="{30E1358A-56E5-0B91-33E8-E106FBE40F97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76" creationId="{65F3382D-6508-102F-B02F-8E3B4F29EF85}"/>
          </ac:spMkLst>
        </pc:spChg>
        <pc:spChg chg="add mod">
          <ac:chgData name="Otavio Augusto Sabia Gava" userId="68ac195b-011b-467c-86d4-321df89323d0" providerId="ADAL" clId="{0C687AD9-2800-41E2-AA69-D02ABC7EDD76}" dt="2023-11-30T14:45:02.104" v="29915" actId="1036"/>
          <ac:spMkLst>
            <pc:docMk/>
            <pc:sldMk cId="2220478638" sldId="3045"/>
            <ac:spMk id="77" creationId="{C72B069A-BB0F-B39E-45D2-B43EDCC733BA}"/>
          </ac:spMkLst>
        </pc:spChg>
        <pc:spChg chg="add mod">
          <ac:chgData name="Otavio Augusto Sabia Gava" userId="68ac195b-011b-467c-86d4-321df89323d0" providerId="ADAL" clId="{0C687AD9-2800-41E2-AA69-D02ABC7EDD76}" dt="2023-11-30T14:45:53.105" v="29925" actId="113"/>
          <ac:spMkLst>
            <pc:docMk/>
            <pc:sldMk cId="2220478638" sldId="3045"/>
            <ac:spMk id="78" creationId="{DD270639-2091-C347-2999-13FAFF3A060D}"/>
          </ac:spMkLst>
        </pc:spChg>
        <pc:spChg chg="add mod">
          <ac:chgData name="Otavio Augusto Sabia Gava" userId="68ac195b-011b-467c-86d4-321df89323d0" providerId="ADAL" clId="{0C687AD9-2800-41E2-AA69-D02ABC7EDD76}" dt="2023-11-30T14:45:54.261" v="29926" actId="113"/>
          <ac:spMkLst>
            <pc:docMk/>
            <pc:sldMk cId="2220478638" sldId="3045"/>
            <ac:spMk id="79" creationId="{D34CD524-3427-67C9-26A0-390BD1FC3A02}"/>
          </ac:spMkLst>
        </pc:spChg>
        <pc:grpChg chg="add mod">
          <ac:chgData name="Otavio Augusto Sabia Gava" userId="68ac195b-011b-467c-86d4-321df89323d0" providerId="ADAL" clId="{0C687AD9-2800-41E2-AA69-D02ABC7EDD76}" dt="2023-12-04T11:43:25.206" v="30086" actId="14100"/>
          <ac:grpSpMkLst>
            <pc:docMk/>
            <pc:sldMk cId="2220478638" sldId="3045"/>
            <ac:grpSpMk id="7" creationId="{2182C0AF-FCD1-4FAA-63F9-0E400C7C0AF1}"/>
          </ac:grpSpMkLst>
        </pc:grpChg>
        <pc:grpChg chg="add mod">
          <ac:chgData name="Otavio Augusto Sabia Gava" userId="68ac195b-011b-467c-86d4-321df89323d0" providerId="ADAL" clId="{0C687AD9-2800-41E2-AA69-D02ABC7EDD76}" dt="2023-11-30T14:36:38.245" v="29217"/>
          <ac:grpSpMkLst>
            <pc:docMk/>
            <pc:sldMk cId="2220478638" sldId="3045"/>
            <ac:grpSpMk id="13" creationId="{3720D2B9-1536-CF2E-5F61-B3F63AAE586F}"/>
          </ac:grpSpMkLst>
        </pc:grpChg>
        <pc:grpChg chg="add del mod">
          <ac:chgData name="Otavio Augusto Sabia Gava" userId="68ac195b-011b-467c-86d4-321df89323d0" providerId="ADAL" clId="{0C687AD9-2800-41E2-AA69-D02ABC7EDD76}" dt="2023-11-30T14:36:45.745" v="29221" actId="478"/>
          <ac:grpSpMkLst>
            <pc:docMk/>
            <pc:sldMk cId="2220478638" sldId="3045"/>
            <ac:grpSpMk id="16" creationId="{551B94D1-AD9F-6917-7D95-66D20461C247}"/>
          </ac:grpSpMkLst>
        </pc:grpChg>
        <pc:grpChg chg="add mod">
          <ac:chgData name="Otavio Augusto Sabia Gava" userId="68ac195b-011b-467c-86d4-321df89323d0" providerId="ADAL" clId="{0C687AD9-2800-41E2-AA69-D02ABC7EDD76}" dt="2023-11-30T15:01:07.613" v="30075" actId="14100"/>
          <ac:grpSpMkLst>
            <pc:docMk/>
            <pc:sldMk cId="2220478638" sldId="3045"/>
            <ac:grpSpMk id="20" creationId="{ECE872DF-7902-6A1A-3ADC-131D08A0D27A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23" creationId="{FC5B34B8-1BE1-402D-5B86-4329DC151E1F}"/>
          </ac:grpSpMkLst>
        </pc:grpChg>
        <pc:grpChg chg="add mod">
          <ac:chgData name="Otavio Augusto Sabia Gava" userId="68ac195b-011b-467c-86d4-321df89323d0" providerId="ADAL" clId="{0C687AD9-2800-41E2-AA69-D02ABC7EDD76}" dt="2023-12-04T11:45:40.637" v="30122" actId="14100"/>
          <ac:grpSpMkLst>
            <pc:docMk/>
            <pc:sldMk cId="2220478638" sldId="3045"/>
            <ac:grpSpMk id="29" creationId="{AA3980F0-B3F6-D826-AFCA-0B8916BCCDF2}"/>
          </ac:grpSpMkLst>
        </pc:grpChg>
        <pc:grpChg chg="add del mod">
          <ac:chgData name="Otavio Augusto Sabia Gava" userId="68ac195b-011b-467c-86d4-321df89323d0" providerId="ADAL" clId="{0C687AD9-2800-41E2-AA69-D02ABC7EDD76}" dt="2023-11-30T14:40:05.535" v="29365" actId="478"/>
          <ac:grpSpMkLst>
            <pc:docMk/>
            <pc:sldMk cId="2220478638" sldId="3045"/>
            <ac:grpSpMk id="33" creationId="{C83AA332-AC1B-3218-476E-91EA77DBEE0A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39" creationId="{0C228713-B727-EBF4-9E92-8890732A3696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42" creationId="{56BF2B9E-B8A6-410C-C69D-96594A66FB0D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45" creationId="{A95E2EE5-A01D-EB8B-2B19-2F7609180B62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48" creationId="{96678DEB-C448-DB32-514C-A91C29D67977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56" creationId="{B43DEE54-AF92-9149-70CB-3D64C22F586B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59" creationId="{321950B6-E162-CB74-2759-472876C80887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62" creationId="{1CB7B2CA-49CE-4F77-33CE-322AB5E8CB23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67" creationId="{A1EF61B3-87CD-0784-4258-E184F7288857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70" creationId="{75484FCD-C650-C18F-7BF0-5CCC2CD4942D}"/>
          </ac:grpSpMkLst>
        </pc:grpChg>
        <pc:grpChg chg="add mod">
          <ac:chgData name="Otavio Augusto Sabia Gava" userId="68ac195b-011b-467c-86d4-321df89323d0" providerId="ADAL" clId="{0C687AD9-2800-41E2-AA69-D02ABC7EDD76}" dt="2023-11-30T14:45:02.104" v="29915" actId="1036"/>
          <ac:grpSpMkLst>
            <pc:docMk/>
            <pc:sldMk cId="2220478638" sldId="3045"/>
            <ac:grpSpMk id="73" creationId="{8D2298F8-8750-A69D-6452-6BA323033E9D}"/>
          </ac:grpSpMkLst>
        </pc:grpChg>
        <pc:graphicFrameChg chg="add mod">
          <ac:chgData name="Otavio Augusto Sabia Gava" userId="68ac195b-011b-467c-86d4-321df89323d0" providerId="ADAL" clId="{0C687AD9-2800-41E2-AA69-D02ABC7EDD76}" dt="2023-11-30T14:45:02.104" v="29915" actId="1036"/>
          <ac:graphicFrameMkLst>
            <pc:docMk/>
            <pc:sldMk cId="2220478638" sldId="3045"/>
            <ac:graphicFrameMk id="2" creationId="{D578DDAC-D35F-9BB6-511A-85ABE8AD2F5C}"/>
          </ac:graphicFrameMkLst>
        </pc:graphicFrameChg>
        <pc:picChg chg="mod">
          <ac:chgData name="Otavio Augusto Sabia Gava" userId="68ac195b-011b-467c-86d4-321df89323d0" providerId="ADAL" clId="{0C687AD9-2800-41E2-AA69-D02ABC7EDD76}" dt="2023-11-30T14:46:09.337" v="29927"/>
          <ac:picMkLst>
            <pc:docMk/>
            <pc:sldMk cId="2220478638" sldId="3045"/>
            <ac:picMk id="18" creationId="{4B0E0AFC-324C-C2E3-76E7-4F2E84B6559F}"/>
          </ac:picMkLst>
        </pc:picChg>
      </pc:sldChg>
      <pc:sldChg chg="addSp delSp modSp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3233488312" sldId="3046"/>
        </pc:sldMkLst>
        <pc:spChg chg="mod">
          <ac:chgData name="Otavio Augusto Sabia Gava" userId="68ac195b-011b-467c-86d4-321df89323d0" providerId="ADAL" clId="{0C687AD9-2800-41E2-AA69-D02ABC7EDD76}" dt="2023-12-04T14:32:01.710" v="30169" actId="1076"/>
          <ac:spMkLst>
            <pc:docMk/>
            <pc:sldMk cId="3233488312" sldId="3046"/>
            <ac:spMk id="7" creationId="{6226FC72-90AF-AD04-DC3F-DA7467D37F00}"/>
          </ac:spMkLst>
        </pc:spChg>
        <pc:spChg chg="mod">
          <ac:chgData name="Otavio Augusto Sabia Gava" userId="68ac195b-011b-467c-86d4-321df89323d0" providerId="ADAL" clId="{0C687AD9-2800-41E2-AA69-D02ABC7EDD76}" dt="2023-12-04T14:32:33.875" v="30177" actId="1036"/>
          <ac:spMkLst>
            <pc:docMk/>
            <pc:sldMk cId="3233488312" sldId="3046"/>
            <ac:spMk id="9" creationId="{D00239DD-EC33-CDB1-1EF8-83D1473B6FC1}"/>
          </ac:spMkLst>
        </pc:spChg>
        <pc:spChg chg="mod">
          <ac:chgData name="Otavio Augusto Sabia Gava" userId="68ac195b-011b-467c-86d4-321df89323d0" providerId="ADAL" clId="{0C687AD9-2800-41E2-AA69-D02ABC7EDD76}" dt="2023-12-04T14:27:36.431" v="30134" actId="207"/>
          <ac:spMkLst>
            <pc:docMk/>
            <pc:sldMk cId="3233488312" sldId="3046"/>
            <ac:spMk id="21" creationId="{90FAE773-AB64-DF98-ECEA-97075A7ACF1E}"/>
          </ac:spMkLst>
        </pc:spChg>
        <pc:spChg chg="mod">
          <ac:chgData name="Otavio Augusto Sabia Gava" userId="68ac195b-011b-467c-86d4-321df89323d0" providerId="ADAL" clId="{0C687AD9-2800-41E2-AA69-D02ABC7EDD76}" dt="2023-12-04T14:31:55.506" v="30167" actId="1076"/>
          <ac:spMkLst>
            <pc:docMk/>
            <pc:sldMk cId="3233488312" sldId="3046"/>
            <ac:spMk id="30" creationId="{A26DA0CE-F03E-7FB0-7532-C51F8BF7F06D}"/>
          </ac:spMkLst>
        </pc:spChg>
        <pc:spChg chg="mod">
          <ac:chgData name="Otavio Augusto Sabia Gava" userId="68ac195b-011b-467c-86d4-321df89323d0" providerId="ADAL" clId="{0C687AD9-2800-41E2-AA69-D02ABC7EDD76}" dt="2023-12-04T14:27:47.139" v="30135" actId="207"/>
          <ac:spMkLst>
            <pc:docMk/>
            <pc:sldMk cId="3233488312" sldId="3046"/>
            <ac:spMk id="35" creationId="{3609C85B-252B-B096-A353-5DF89DB297B9}"/>
          </ac:spMkLst>
        </pc:spChg>
        <pc:spChg chg="mod">
          <ac:chgData name="Otavio Augusto Sabia Gava" userId="68ac195b-011b-467c-86d4-321df89323d0" providerId="ADAL" clId="{0C687AD9-2800-41E2-AA69-D02ABC7EDD76}" dt="2023-12-04T14:28:35.361" v="30139" actId="207"/>
          <ac:spMkLst>
            <pc:docMk/>
            <pc:sldMk cId="3233488312" sldId="3046"/>
            <ac:spMk id="40" creationId="{0D117CC2-AB95-C47B-9AC1-7B8F672E3601}"/>
          </ac:spMkLst>
        </pc:spChg>
        <pc:spChg chg="mod">
          <ac:chgData name="Otavio Augusto Sabia Gava" userId="68ac195b-011b-467c-86d4-321df89323d0" providerId="ADAL" clId="{0C687AD9-2800-41E2-AA69-D02ABC7EDD76}" dt="2023-12-04T14:28:28.946" v="30138" actId="207"/>
          <ac:spMkLst>
            <pc:docMk/>
            <pc:sldMk cId="3233488312" sldId="3046"/>
            <ac:spMk id="45" creationId="{BF7DDBDB-EC91-5C48-C05F-F3F4AC536C92}"/>
          </ac:spMkLst>
        </pc:spChg>
        <pc:grpChg chg="add del">
          <ac:chgData name="Otavio Augusto Sabia Gava" userId="68ac195b-011b-467c-86d4-321df89323d0" providerId="ADAL" clId="{0C687AD9-2800-41E2-AA69-D02ABC7EDD76}" dt="2023-12-04T14:27:57.446" v="30137" actId="21"/>
          <ac:grpSpMkLst>
            <pc:docMk/>
            <pc:sldMk cId="3233488312" sldId="3046"/>
            <ac:grpSpMk id="38" creationId="{C7223EB4-C604-D43D-DCC0-EF82FC25856D}"/>
          </ac:grpSpMkLst>
        </pc:grpChg>
        <pc:picChg chg="mod">
          <ac:chgData name="Otavio Augusto Sabia Gava" userId="68ac195b-011b-467c-86d4-321df89323d0" providerId="ADAL" clId="{0C687AD9-2800-41E2-AA69-D02ABC7EDD76}" dt="2023-12-04T14:31:43.825" v="30163" actId="1037"/>
          <ac:picMkLst>
            <pc:docMk/>
            <pc:sldMk cId="3233488312" sldId="3046"/>
            <ac:picMk id="56" creationId="{3301CBEE-C2E5-5FFA-43F4-2DA9B1911058}"/>
          </ac:picMkLst>
        </pc:picChg>
        <pc:cxnChg chg="mod">
          <ac:chgData name="Otavio Augusto Sabia Gava" userId="68ac195b-011b-467c-86d4-321df89323d0" providerId="ADAL" clId="{0C687AD9-2800-41E2-AA69-D02ABC7EDD76}" dt="2023-12-04T14:32:23.764" v="30173" actId="14100"/>
          <ac:cxnSpMkLst>
            <pc:docMk/>
            <pc:sldMk cId="3233488312" sldId="3046"/>
            <ac:cxnSpMk id="5" creationId="{0D3BF3DC-9E18-EF38-DC24-808813FB6D0D}"/>
          </ac:cxnSpMkLst>
        </pc:cxnChg>
        <pc:cxnChg chg="mod">
          <ac:chgData name="Otavio Augusto Sabia Gava" userId="68ac195b-011b-467c-86d4-321df89323d0" providerId="ADAL" clId="{0C687AD9-2800-41E2-AA69-D02ABC7EDD76}" dt="2023-12-04T14:32:04.707" v="30170" actId="14100"/>
          <ac:cxnSpMkLst>
            <pc:docMk/>
            <pc:sldMk cId="3233488312" sldId="3046"/>
            <ac:cxnSpMk id="8" creationId="{A332AB0F-9166-046C-A10E-8AB0CDAB2AE8}"/>
          </ac:cxnSpMkLst>
        </pc:cxnChg>
        <pc:cxnChg chg="mod">
          <ac:chgData name="Otavio Augusto Sabia Gava" userId="68ac195b-011b-467c-86d4-321df89323d0" providerId="ADAL" clId="{0C687AD9-2800-41E2-AA69-D02ABC7EDD76}" dt="2023-12-04T14:32:18.315" v="30172" actId="14100"/>
          <ac:cxnSpMkLst>
            <pc:docMk/>
            <pc:sldMk cId="3233488312" sldId="3046"/>
            <ac:cxnSpMk id="10" creationId="{9F04CED1-01BE-31AF-A357-BC6AD3E7A342}"/>
          </ac:cxnSpMkLst>
        </pc:cxnChg>
        <pc:cxnChg chg="mod ord">
          <ac:chgData name="Otavio Augusto Sabia Gava" userId="68ac195b-011b-467c-86d4-321df89323d0" providerId="ADAL" clId="{0C687AD9-2800-41E2-AA69-D02ABC7EDD76}" dt="2023-12-04T14:30:14.476" v="30151" actId="167"/>
          <ac:cxnSpMkLst>
            <pc:docMk/>
            <pc:sldMk cId="3233488312" sldId="3046"/>
            <ac:cxnSpMk id="22" creationId="{C142CDAE-C66B-ADC5-25AA-38789B3B4EA9}"/>
          </ac:cxnSpMkLst>
        </pc:cxnChg>
        <pc:cxnChg chg="mod">
          <ac:chgData name="Otavio Augusto Sabia Gava" userId="68ac195b-011b-467c-86d4-321df89323d0" providerId="ADAL" clId="{0C687AD9-2800-41E2-AA69-D02ABC7EDD76}" dt="2023-12-04T14:32:07.414" v="30171" actId="14100"/>
          <ac:cxnSpMkLst>
            <pc:docMk/>
            <pc:sldMk cId="3233488312" sldId="3046"/>
            <ac:cxnSpMk id="24" creationId="{D4219042-2D59-50EA-36EB-C213450E4670}"/>
          </ac:cxnSpMkLst>
        </pc:cxnChg>
        <pc:cxnChg chg="mod ord">
          <ac:chgData name="Otavio Augusto Sabia Gava" userId="68ac195b-011b-467c-86d4-321df89323d0" providerId="ADAL" clId="{0C687AD9-2800-41E2-AA69-D02ABC7EDD76}" dt="2023-12-04T14:30:01.696" v="30149" actId="167"/>
          <ac:cxnSpMkLst>
            <pc:docMk/>
            <pc:sldMk cId="3233488312" sldId="3046"/>
            <ac:cxnSpMk id="36" creationId="{B451BB7A-430E-6F59-3BC5-05B0671A4FF0}"/>
          </ac:cxnSpMkLst>
        </pc:cxnChg>
        <pc:cxnChg chg="add del mod ord">
          <ac:chgData name="Otavio Augusto Sabia Gava" userId="68ac195b-011b-467c-86d4-321df89323d0" providerId="ADAL" clId="{0C687AD9-2800-41E2-AA69-D02ABC7EDD76}" dt="2023-12-04T14:29:40.340" v="30146" actId="167"/>
          <ac:cxnSpMkLst>
            <pc:docMk/>
            <pc:sldMk cId="3233488312" sldId="3046"/>
            <ac:cxnSpMk id="41" creationId="{A4BD3328-DBBD-5230-47D8-175510AD1C18}"/>
          </ac:cxnSpMkLst>
        </pc:cxnChg>
        <pc:cxnChg chg="mod ord">
          <ac:chgData name="Otavio Augusto Sabia Gava" userId="68ac195b-011b-467c-86d4-321df89323d0" providerId="ADAL" clId="{0C687AD9-2800-41E2-AA69-D02ABC7EDD76}" dt="2023-12-04T14:29:44.729" v="30147" actId="167"/>
          <ac:cxnSpMkLst>
            <pc:docMk/>
            <pc:sldMk cId="3233488312" sldId="3046"/>
            <ac:cxnSpMk id="46" creationId="{1EB3AB00-8E6A-BB81-0B2A-08EAD88A756E}"/>
          </ac:cxnSpMkLst>
        </pc:cxnChg>
      </pc:sldChg>
      <pc:sldChg chg="modSp mod modShow">
        <pc:chgData name="Otavio Augusto Sabia Gava" userId="68ac195b-011b-467c-86d4-321df89323d0" providerId="ADAL" clId="{0C687AD9-2800-41E2-AA69-D02ABC7EDD76}" dt="2023-12-04T17:10:36.941" v="30267" actId="729"/>
        <pc:sldMkLst>
          <pc:docMk/>
          <pc:sldMk cId="2037393113" sldId="3047"/>
        </pc:sldMkLst>
        <pc:spChg chg="mod">
          <ac:chgData name="Otavio Augusto Sabia Gava" userId="68ac195b-011b-467c-86d4-321df89323d0" providerId="ADAL" clId="{0C687AD9-2800-41E2-AA69-D02ABC7EDD76}" dt="2023-12-04T14:26:19.958" v="30127" actId="207"/>
          <ac:spMkLst>
            <pc:docMk/>
            <pc:sldMk cId="2037393113" sldId="3047"/>
            <ac:spMk id="13" creationId="{96B0ABCA-C66B-2264-241C-B4634D5DEB04}"/>
          </ac:spMkLst>
        </pc:spChg>
        <pc:spChg chg="mod">
          <ac:chgData name="Otavio Augusto Sabia Gava" userId="68ac195b-011b-467c-86d4-321df89323d0" providerId="ADAL" clId="{0C687AD9-2800-41E2-AA69-D02ABC7EDD76}" dt="2023-12-04T14:26:24.808" v="30129" actId="207"/>
          <ac:spMkLst>
            <pc:docMk/>
            <pc:sldMk cId="2037393113" sldId="3047"/>
            <ac:spMk id="15" creationId="{11A338B3-0F2E-6DD5-D4E3-2018FAD29455}"/>
          </ac:spMkLst>
        </pc:spChg>
        <pc:spChg chg="mod">
          <ac:chgData name="Otavio Augusto Sabia Gava" userId="68ac195b-011b-467c-86d4-321df89323d0" providerId="ADAL" clId="{0C687AD9-2800-41E2-AA69-D02ABC7EDD76}" dt="2023-12-04T14:26:38.489" v="30132" actId="207"/>
          <ac:spMkLst>
            <pc:docMk/>
            <pc:sldMk cId="2037393113" sldId="3047"/>
            <ac:spMk id="16" creationId="{4C2CA875-F103-7CD5-8622-6616943E9A73}"/>
          </ac:spMkLst>
        </pc:spChg>
        <pc:spChg chg="mod">
          <ac:chgData name="Otavio Augusto Sabia Gava" userId="68ac195b-011b-467c-86d4-321df89323d0" providerId="ADAL" clId="{0C687AD9-2800-41E2-AA69-D02ABC7EDD76}" dt="2023-12-04T14:26:40.372" v="30133" actId="207"/>
          <ac:spMkLst>
            <pc:docMk/>
            <pc:sldMk cId="2037393113" sldId="3047"/>
            <ac:spMk id="20" creationId="{92E9374B-33ED-D4BC-F357-2F38807DADB9}"/>
          </ac:spMkLst>
        </pc:spChg>
        <pc:spChg chg="mod">
          <ac:chgData name="Otavio Augusto Sabia Gava" userId="68ac195b-011b-467c-86d4-321df89323d0" providerId="ADAL" clId="{0C687AD9-2800-41E2-AA69-D02ABC7EDD76}" dt="2023-12-04T14:26:22.963" v="30128" actId="207"/>
          <ac:spMkLst>
            <pc:docMk/>
            <pc:sldMk cId="2037393113" sldId="3047"/>
            <ac:spMk id="27" creationId="{BD80F9DC-DE48-DE27-2318-9D8F099FB375}"/>
          </ac:spMkLst>
        </pc:spChg>
        <pc:spChg chg="mod">
          <ac:chgData name="Otavio Augusto Sabia Gava" userId="68ac195b-011b-467c-86d4-321df89323d0" providerId="ADAL" clId="{0C687AD9-2800-41E2-AA69-D02ABC7EDD76}" dt="2023-12-04T14:26:17.786" v="30126" actId="207"/>
          <ac:spMkLst>
            <pc:docMk/>
            <pc:sldMk cId="2037393113" sldId="3047"/>
            <ac:spMk id="37" creationId="{7CBD9413-4E40-FD79-1017-1BC5CD38DE60}"/>
          </ac:spMkLst>
        </pc:spChg>
        <pc:spChg chg="mod">
          <ac:chgData name="Otavio Augusto Sabia Gava" userId="68ac195b-011b-467c-86d4-321df89323d0" providerId="ADAL" clId="{0C687AD9-2800-41E2-AA69-D02ABC7EDD76}" dt="2023-12-04T14:26:10.967" v="30125" actId="207"/>
          <ac:spMkLst>
            <pc:docMk/>
            <pc:sldMk cId="2037393113" sldId="3047"/>
            <ac:spMk id="45" creationId="{DC268514-2410-1D62-532C-031408838129}"/>
          </ac:spMkLst>
        </pc:spChg>
        <pc:spChg chg="mod">
          <ac:chgData name="Otavio Augusto Sabia Gava" userId="68ac195b-011b-467c-86d4-321df89323d0" providerId="ADAL" clId="{0C687AD9-2800-41E2-AA69-D02ABC7EDD76}" dt="2023-12-04T14:26:26.599" v="30130" actId="207"/>
          <ac:spMkLst>
            <pc:docMk/>
            <pc:sldMk cId="2037393113" sldId="3047"/>
            <ac:spMk id="46" creationId="{766C400E-0027-0F4E-AD55-4183DE4DB6B1}"/>
          </ac:spMkLst>
        </pc:spChg>
        <pc:spChg chg="mod">
          <ac:chgData name="Otavio Augusto Sabia Gava" userId="68ac195b-011b-467c-86d4-321df89323d0" providerId="ADAL" clId="{0C687AD9-2800-41E2-AA69-D02ABC7EDD76}" dt="2023-12-04T14:26:30.863" v="30131" actId="207"/>
          <ac:spMkLst>
            <pc:docMk/>
            <pc:sldMk cId="2037393113" sldId="3047"/>
            <ac:spMk id="47" creationId="{23B89E7B-2599-755F-C039-96A7BB23F76D}"/>
          </ac:spMkLst>
        </pc:spChg>
      </pc:sldChg>
      <pc:sldChg chg="add">
        <pc:chgData name="Otavio Augusto Sabia Gava" userId="68ac195b-011b-467c-86d4-321df89323d0" providerId="ADAL" clId="{0C687AD9-2800-41E2-AA69-D02ABC7EDD76}" dt="2023-12-04T17:10:25.247" v="30265"/>
        <pc:sldMkLst>
          <pc:docMk/>
          <pc:sldMk cId="3020635361" sldId="3048"/>
        </pc:sldMkLst>
      </pc:sldChg>
      <pc:sldChg chg="modSp add">
        <pc:chgData name="Otavio Augusto Sabia Gava" userId="68ac195b-011b-467c-86d4-321df89323d0" providerId="ADAL" clId="{0C687AD9-2800-41E2-AA69-D02ABC7EDD76}" dt="2023-12-04T19:21:12.352" v="30271"/>
        <pc:sldMkLst>
          <pc:docMk/>
          <pc:sldMk cId="2821593105" sldId="3049"/>
        </pc:sldMkLst>
        <pc:picChg chg="mod">
          <ac:chgData name="Otavio Augusto Sabia Gava" userId="68ac195b-011b-467c-86d4-321df89323d0" providerId="ADAL" clId="{0C687AD9-2800-41E2-AA69-D02ABC7EDD76}" dt="2023-12-04T19:21:12.352" v="30271"/>
          <ac:picMkLst>
            <pc:docMk/>
            <pc:sldMk cId="2821593105" sldId="3049"/>
            <ac:picMk id="33" creationId="{81CAFE99-4BF3-43EA-9C82-06D26C196049}"/>
          </ac:picMkLst>
        </pc:picChg>
        <pc:picChg chg="mod">
          <ac:chgData name="Otavio Augusto Sabia Gava" userId="68ac195b-011b-467c-86d4-321df89323d0" providerId="ADAL" clId="{0C687AD9-2800-41E2-AA69-D02ABC7EDD76}" dt="2023-12-04T19:21:00.505" v="30270"/>
          <ac:picMkLst>
            <pc:docMk/>
            <pc:sldMk cId="2821593105" sldId="3049"/>
            <ac:picMk id="34" creationId="{DD1231DF-43D9-4EFD-8B67-FB5BA0B44D8C}"/>
          </ac:picMkLst>
        </pc:picChg>
      </pc:sldChg>
      <pc:sldChg chg="modSp add mod setBg">
        <pc:chgData name="Otavio Augusto Sabia Gava" userId="68ac195b-011b-467c-86d4-321df89323d0" providerId="ADAL" clId="{0C687AD9-2800-41E2-AA69-D02ABC7EDD76}" dt="2023-12-05T18:29:50.628" v="30618" actId="14100"/>
        <pc:sldMkLst>
          <pc:docMk/>
          <pc:sldMk cId="1557702845" sldId="3050"/>
        </pc:sldMkLst>
        <pc:spChg chg="mod">
          <ac:chgData name="Otavio Augusto Sabia Gava" userId="68ac195b-011b-467c-86d4-321df89323d0" providerId="ADAL" clId="{0C687AD9-2800-41E2-AA69-D02ABC7EDD76}" dt="2023-12-05T18:29:50.628" v="30618" actId="14100"/>
          <ac:spMkLst>
            <pc:docMk/>
            <pc:sldMk cId="1557702845" sldId="3050"/>
            <ac:spMk id="3" creationId="{51DD5C7E-92AA-8DED-9DE8-18A39DC2A238}"/>
          </ac:spMkLst>
        </pc:spChg>
      </pc:sldChg>
      <pc:sldChg chg="mod modShow">
        <pc:chgData name="Otavio Augusto Sabia Gava" userId="68ac195b-011b-467c-86d4-321df89323d0" providerId="ADAL" clId="{0C687AD9-2800-41E2-AA69-D02ABC7EDD76}" dt="2024-02-21T18:41:50.063" v="30656" actId="729"/>
        <pc:sldMkLst>
          <pc:docMk/>
          <pc:sldMk cId="3095588375" sldId="3051"/>
        </pc:sldMkLst>
      </pc:sldChg>
      <pc:sldChg chg="delSp modSp add mod modShow">
        <pc:chgData name="Otavio Augusto Sabia Gava" userId="68ac195b-011b-467c-86d4-321df89323d0" providerId="ADAL" clId="{0C687AD9-2800-41E2-AA69-D02ABC7EDD76}" dt="2024-02-21T18:40:16.659" v="30654" actId="729"/>
        <pc:sldMkLst>
          <pc:docMk/>
          <pc:sldMk cId="3445586602" sldId="3052"/>
        </pc:sldMkLst>
        <pc:graphicFrameChg chg="modGraphic">
          <ac:chgData name="Otavio Augusto Sabia Gava" userId="68ac195b-011b-467c-86d4-321df89323d0" providerId="ADAL" clId="{0C687AD9-2800-41E2-AA69-D02ABC7EDD76}" dt="2024-02-21T18:40:00.370" v="30650" actId="6549"/>
          <ac:graphicFrameMkLst>
            <pc:docMk/>
            <pc:sldMk cId="3445586602" sldId="3052"/>
            <ac:graphicFrameMk id="43" creationId="{0BAE9FBF-FA36-C873-5E0C-12751264D2D8}"/>
          </ac:graphicFrameMkLst>
        </pc:graphicFrameChg>
        <pc:picChg chg="del">
          <ac:chgData name="Otavio Augusto Sabia Gava" userId="68ac195b-011b-467c-86d4-321df89323d0" providerId="ADAL" clId="{0C687AD9-2800-41E2-AA69-D02ABC7EDD76}" dt="2024-02-21T18:40:04.304" v="30653" actId="478"/>
          <ac:picMkLst>
            <pc:docMk/>
            <pc:sldMk cId="3445586602" sldId="3052"/>
            <ac:picMk id="7" creationId="{2B61586D-9874-8EF6-5C54-9514F07FDA9D}"/>
          </ac:picMkLst>
        </pc:picChg>
        <pc:picChg chg="del">
          <ac:chgData name="Otavio Augusto Sabia Gava" userId="68ac195b-011b-467c-86d4-321df89323d0" providerId="ADAL" clId="{0C687AD9-2800-41E2-AA69-D02ABC7EDD76}" dt="2024-02-21T18:40:03.441" v="30651" actId="478"/>
          <ac:picMkLst>
            <pc:docMk/>
            <pc:sldMk cId="3445586602" sldId="3052"/>
            <ac:picMk id="13" creationId="{25CC005F-A9C5-29BA-F147-A39A6CFF9862}"/>
          </ac:picMkLst>
        </pc:picChg>
        <pc:picChg chg="del">
          <ac:chgData name="Otavio Augusto Sabia Gava" userId="68ac195b-011b-467c-86d4-321df89323d0" providerId="ADAL" clId="{0C687AD9-2800-41E2-AA69-D02ABC7EDD76}" dt="2024-02-21T18:40:03.859" v="30652" actId="478"/>
          <ac:picMkLst>
            <pc:docMk/>
            <pc:sldMk cId="3445586602" sldId="3052"/>
            <ac:picMk id="14" creationId="{824E7EE1-0856-E088-DA70-5273809B58E1}"/>
          </ac:picMkLst>
        </pc:picChg>
      </pc:sldChg>
      <pc:sldMasterChg chg="delSp mod modSldLayout">
        <pc:chgData name="Otavio Augusto Sabia Gava" userId="68ac195b-011b-467c-86d4-321df89323d0" providerId="ADAL" clId="{0C687AD9-2800-41E2-AA69-D02ABC7EDD76}" dt="2023-11-28T17:20:13.723" v="19770" actId="478"/>
        <pc:sldMasterMkLst>
          <pc:docMk/>
          <pc:sldMasterMk cId="0" sldId="2147483648"/>
        </pc:sldMasterMkLst>
        <pc:spChg chg="del">
          <ac:chgData name="Otavio Augusto Sabia Gava" userId="68ac195b-011b-467c-86d4-321df89323d0" providerId="ADAL" clId="{0C687AD9-2800-41E2-AA69-D02ABC7EDD76}" dt="2023-11-28T17:20:03.579" v="19767" actId="478"/>
          <ac:spMkLst>
            <pc:docMk/>
            <pc:sldMasterMk cId="0" sldId="2147483648"/>
            <ac:spMk id="11" creationId="{00000000-0000-0000-0000-000000000000}"/>
          </ac:spMkLst>
        </pc:spChg>
        <pc:sldLayoutChg chg="delSp modSp mod">
          <pc:chgData name="Otavio Augusto Sabia Gava" userId="68ac195b-011b-467c-86d4-321df89323d0" providerId="ADAL" clId="{0C687AD9-2800-41E2-AA69-D02ABC7EDD76}" dt="2023-11-28T17:20:13.723" v="19770" actId="478"/>
          <pc:sldLayoutMkLst>
            <pc:docMk/>
            <pc:sldMasterMk cId="0" sldId="2147483648"/>
            <pc:sldLayoutMk cId="2522486704" sldId="2147483711"/>
          </pc:sldLayoutMkLst>
          <pc:spChg chg="del mod">
            <ac:chgData name="Otavio Augusto Sabia Gava" userId="68ac195b-011b-467c-86d4-321df89323d0" providerId="ADAL" clId="{0C687AD9-2800-41E2-AA69-D02ABC7EDD76}" dt="2023-11-28T17:20:13.723" v="19770" actId="478"/>
            <ac:spMkLst>
              <pc:docMk/>
              <pc:sldMasterMk cId="0" sldId="2147483648"/>
              <pc:sldLayoutMk cId="2522486704" sldId="2147483711"/>
              <ac:spMk id="15" creationId="{00000000-0000-0000-0000-000000000000}"/>
            </ac:spMkLst>
          </pc:spChg>
        </pc:sldLayoutChg>
        <pc:sldLayoutChg chg="delSp mod">
          <pc:chgData name="Otavio Augusto Sabia Gava" userId="68ac195b-011b-467c-86d4-321df89323d0" providerId="ADAL" clId="{0C687AD9-2800-41E2-AA69-D02ABC7EDD76}" dt="2023-11-28T17:20:07.702" v="19768" actId="478"/>
          <pc:sldLayoutMkLst>
            <pc:docMk/>
            <pc:sldMasterMk cId="0" sldId="2147483648"/>
            <pc:sldLayoutMk cId="3439156499" sldId="2147483765"/>
          </pc:sldLayoutMkLst>
          <pc:spChg chg="del">
            <ac:chgData name="Otavio Augusto Sabia Gava" userId="68ac195b-011b-467c-86d4-321df89323d0" providerId="ADAL" clId="{0C687AD9-2800-41E2-AA69-D02ABC7EDD76}" dt="2023-11-28T17:20:07.702" v="19768" actId="478"/>
            <ac:spMkLst>
              <pc:docMk/>
              <pc:sldMasterMk cId="0" sldId="2147483648"/>
              <pc:sldLayoutMk cId="3439156499" sldId="2147483765"/>
              <ac:spMk id="5" creationId="{031314CC-7114-4C34-8C9E-92D2121F8560}"/>
            </ac:spMkLst>
          </pc:spChg>
        </pc:sldLayoutChg>
      </pc:sldMasterChg>
    </pc:docChg>
  </pc:docChgLst>
  <pc:docChgLst>
    <pc:chgData name="Edelcio Umphir" userId="24f26d32-b8eb-4900-b982-1cf3cb16c1e6" providerId="ADAL" clId="{5CB12C5F-FCA5-4F3C-B0CF-CF08684DBBFE}"/>
    <pc:docChg chg="modSld">
      <pc:chgData name="Edelcio Umphir" userId="24f26d32-b8eb-4900-b982-1cf3cb16c1e6" providerId="ADAL" clId="{5CB12C5F-FCA5-4F3C-B0CF-CF08684DBBFE}" dt="2024-04-04T15:00:45.381" v="2" actId="729"/>
      <pc:docMkLst>
        <pc:docMk/>
      </pc:docMkLst>
      <pc:sldChg chg="mod modShow">
        <pc:chgData name="Edelcio Umphir" userId="24f26d32-b8eb-4900-b982-1cf3cb16c1e6" providerId="ADAL" clId="{5CB12C5F-FCA5-4F3C-B0CF-CF08684DBBFE}" dt="2024-04-04T15:00:45.381" v="2" actId="729"/>
        <pc:sldMkLst>
          <pc:docMk/>
          <pc:sldMk cId="1272869818" sldId="1306"/>
        </pc:sldMkLst>
      </pc:sldChg>
      <pc:sldChg chg="mod modShow">
        <pc:chgData name="Edelcio Umphir" userId="24f26d32-b8eb-4900-b982-1cf3cb16c1e6" providerId="ADAL" clId="{5CB12C5F-FCA5-4F3C-B0CF-CF08684DBBFE}" dt="2024-04-04T15:00:33.578" v="0" actId="729"/>
        <pc:sldMkLst>
          <pc:docMk/>
          <pc:sldMk cId="2392139736" sldId="1365"/>
        </pc:sldMkLst>
      </pc:sldChg>
      <pc:sldChg chg="mod modShow">
        <pc:chgData name="Edelcio Umphir" userId="24f26d32-b8eb-4900-b982-1cf3cb16c1e6" providerId="ADAL" clId="{5CB12C5F-FCA5-4F3C-B0CF-CF08684DBBFE}" dt="2024-04-04T15:00:38.654" v="1" actId="729"/>
        <pc:sldMkLst>
          <pc:docMk/>
          <pc:sldMk cId="1731707379" sldId="299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82324" cy="485010"/>
          </a:xfrm>
          <a:prstGeom prst="rect">
            <a:avLst/>
          </a:prstGeom>
        </p:spPr>
        <p:txBody>
          <a:bodyPr vert="horz" lIns="86813" tIns="43407" rIns="86813" bIns="43407" rtlCol="0"/>
          <a:lstStyle>
            <a:lvl1pPr algn="l">
              <a:defRPr sz="1100"/>
            </a:lvl1pPr>
          </a:lstStyle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7951" y="1"/>
            <a:ext cx="2982324" cy="485010"/>
          </a:xfrm>
          <a:prstGeom prst="rect">
            <a:avLst/>
          </a:prstGeom>
        </p:spPr>
        <p:txBody>
          <a:bodyPr vert="horz" lIns="86813" tIns="43407" rIns="86813" bIns="4340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Calibri" panose="020F0502020204030204" pitchFamily="34" charset="0"/>
              </a:rPr>
              <a:t>4/16/2024</a:t>
            </a:fld>
            <a:endParaRPr lang="en-US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224224"/>
            <a:ext cx="2982324" cy="485010"/>
          </a:xfrm>
          <a:prstGeom prst="rect">
            <a:avLst/>
          </a:prstGeom>
        </p:spPr>
        <p:txBody>
          <a:bodyPr vert="horz" lIns="86813" tIns="43407" rIns="86813" bIns="43407" rtlCol="0" anchor="b"/>
          <a:lstStyle>
            <a:lvl1pPr algn="l">
              <a:defRPr sz="1100"/>
            </a:lvl1pPr>
          </a:lstStyle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7951" y="9224224"/>
            <a:ext cx="2982324" cy="485010"/>
          </a:xfrm>
          <a:prstGeom prst="rect">
            <a:avLst/>
          </a:prstGeom>
        </p:spPr>
        <p:txBody>
          <a:bodyPr vert="horz" lIns="86813" tIns="43407" rIns="86813" bIns="4340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Calibri" panose="020F0502020204030204" pitchFamily="34" charset="0"/>
              </a:rPr>
              <a:t>‹nº›</a:t>
            </a:fld>
            <a:endParaRPr 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2119" cy="485537"/>
          </a:xfrm>
          <a:prstGeom prst="rect">
            <a:avLst/>
          </a:prstGeom>
        </p:spPr>
        <p:txBody>
          <a:bodyPr vert="horz" lIns="94037" tIns="47017" rIns="94037" bIns="47017" rtlCol="0"/>
          <a:lstStyle>
            <a:lvl1pPr algn="l">
              <a:defRPr sz="1100" b="0" i="0"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3" y="1"/>
            <a:ext cx="2982119" cy="485537"/>
          </a:xfrm>
          <a:prstGeom prst="rect">
            <a:avLst/>
          </a:prstGeom>
        </p:spPr>
        <p:txBody>
          <a:bodyPr vert="horz" lIns="94037" tIns="47017" rIns="94037" bIns="47017" rtlCol="0"/>
          <a:lstStyle>
            <a:lvl1pPr algn="r">
              <a:defRPr sz="1100" b="0" i="0">
                <a:latin typeface="Calibri" panose="020F050202020403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4788" y="728663"/>
            <a:ext cx="6472237" cy="3641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37" tIns="47017" rIns="94037" bIns="4701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612601"/>
            <a:ext cx="5505450" cy="4369832"/>
          </a:xfrm>
          <a:prstGeom prst="rect">
            <a:avLst/>
          </a:prstGeom>
        </p:spPr>
        <p:txBody>
          <a:bodyPr vert="horz" lIns="94037" tIns="47017" rIns="94037" bIns="47017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23517"/>
            <a:ext cx="2982119" cy="485537"/>
          </a:xfrm>
          <a:prstGeom prst="rect">
            <a:avLst/>
          </a:prstGeom>
        </p:spPr>
        <p:txBody>
          <a:bodyPr vert="horz" lIns="94037" tIns="47017" rIns="94037" bIns="47017" rtlCol="0" anchor="b"/>
          <a:lstStyle>
            <a:lvl1pPr algn="l">
              <a:defRPr sz="1100" b="0" i="0"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3" y="9223517"/>
            <a:ext cx="2982119" cy="485537"/>
          </a:xfrm>
          <a:prstGeom prst="rect">
            <a:avLst/>
          </a:prstGeom>
        </p:spPr>
        <p:txBody>
          <a:bodyPr vert="horz" lIns="94037" tIns="47017" rIns="94037" bIns="47017" rtlCol="0" anchor="b"/>
          <a:lstStyle>
            <a:lvl1pPr algn="r">
              <a:defRPr sz="1100" b="0" i="0">
                <a:latin typeface="Calibri" panose="020F050202020403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609585" algn="l" defTabSz="1219170" rtl="0" eaLnBrk="1" latinLnBrk="0" hangingPunct="1">
      <a:defRPr sz="16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1219170" algn="l" defTabSz="1219170" rtl="0" eaLnBrk="1" latinLnBrk="0" hangingPunct="1">
      <a:defRPr sz="16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828754" algn="l" defTabSz="1219170" rtl="0" eaLnBrk="1" latinLnBrk="0" hangingPunct="1">
      <a:defRPr sz="16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2438339" algn="l" defTabSz="1219170" rtl="0" eaLnBrk="1" latinLnBrk="0" hangingPunct="1">
      <a:defRPr sz="1600" b="0" i="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4788" y="728663"/>
            <a:ext cx="6472237" cy="3641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215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4213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612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310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Revisão: Símbolo e menu “Hamburguer” padrão errado, rodapé também...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29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slide" Target="../slides/slide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slide" Target="../slides/slide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">
    <p:bg bwMode="gray">
      <p:bgPr>
        <a:solidFill>
          <a:srgbClr val="3A3A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54297" y="2176080"/>
            <a:ext cx="5843789" cy="20811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l">
              <a:buNone/>
              <a:defRPr sz="28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title style</a:t>
            </a:r>
          </a:p>
          <a:p>
            <a:pPr lvl="1"/>
            <a:r>
              <a:rPr lang="en-US" noProof="0"/>
              <a:t>Click to edit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579832" y="6428960"/>
            <a:ext cx="2671264" cy="210379"/>
          </a:xfrm>
          <a:prstGeom prst="rect">
            <a:avLst/>
          </a:prstGeom>
        </p:spPr>
        <p:txBody>
          <a:bodyPr/>
          <a:lstStyle>
            <a:lvl1pPr algn="r"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noProof="0"/>
              <a:t>Editar estilos de texto Mestre</a:t>
            </a:r>
          </a:p>
        </p:txBody>
      </p:sp>
      <p:pic>
        <p:nvPicPr>
          <p:cNvPr id="2" name="Google Shape;485;p1">
            <a:extLst>
              <a:ext uri="{FF2B5EF4-FFF2-40B4-BE49-F238E27FC236}">
                <a16:creationId xmlns:a16="http://schemas.microsoft.com/office/drawing/2014/main" id="{8E708B9E-06D1-7158-190D-345348862D7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03455" y="1776412"/>
            <a:ext cx="4456858" cy="3302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6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4632" y="1014984"/>
            <a:ext cx="9957816" cy="548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noProof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14A3732-CE01-40D2-959D-9878608BC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6"/>
            <a:ext cx="9371445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pt-BR" noProof="0"/>
              <a:t>Clique para editar o título Mes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pt-BR" noProof="0"/>
              <a:t>Clique no ícone para adicionar gráfico</a:t>
            </a:r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4632" y="1014984"/>
            <a:ext cx="9957816" cy="548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noProof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0E81F4B-C814-4863-9512-3B20CC896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6"/>
            <a:ext cx="9371445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pt-BR" noProof="0"/>
              <a:t>Clique para editar o título Mes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pt-BR" noProof="0"/>
              <a:t>Clique no ícone para adicionar gráfico</a:t>
            </a:r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pt-BR" noProof="0"/>
              <a:t>Clique no ícone para adicionar gráfico</a:t>
            </a:r>
            <a:endParaRPr lang="en-US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4632" y="1014984"/>
            <a:ext cx="9957816" cy="548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79AD3FF-2B03-4625-B1B0-835836E75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6"/>
            <a:ext cx="9371445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pt-BR" noProof="0"/>
              <a:t>Clique para editar o título Mes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pt-BR" noProof="0"/>
              <a:t>Editar estilos de texto Mestre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79BC7521-6903-49A1-9859-11ECBA154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25600" y="856800"/>
            <a:ext cx="1934236" cy="1184400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BB848E88-B7C9-49E4-BF87-CBE197D53D60}"/>
              </a:ext>
            </a:extLst>
          </p:cNvPr>
          <p:cNvSpPr txBox="1"/>
          <p:nvPr userDrawn="1"/>
        </p:nvSpPr>
        <p:spPr>
          <a:xfrm>
            <a:off x="9383475" y="2139696"/>
            <a:ext cx="221535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ctr">
              <a:spcBef>
                <a:spcPts val="600"/>
              </a:spcBef>
              <a:buSzPct val="100000"/>
              <a:buFont typeface="Arial"/>
              <a:buNone/>
            </a:pPr>
            <a:r>
              <a:rPr lang="pt-BR" sz="1800">
                <a:solidFill>
                  <a:srgbClr val="FCB017"/>
                </a:solidFill>
                <a:latin typeface="Barlow" panose="00000500000000000000" pitchFamily="2" charset="0"/>
              </a:rPr>
              <a:t>Transformação </a:t>
            </a:r>
            <a:r>
              <a:rPr lang="pt-BR" sz="1800">
                <a:solidFill>
                  <a:srgbClr val="3A3A3A"/>
                </a:solidFill>
                <a:latin typeface="Barlow" panose="00000500000000000000" pitchFamily="2" charset="0"/>
              </a:rPr>
              <a:t>Digital</a:t>
            </a:r>
            <a:endParaRPr lang="en-US" sz="1800">
              <a:solidFill>
                <a:srgbClr val="3A3A3A"/>
              </a:solidFill>
              <a:latin typeface="Barlow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9246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lide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AC38D1A-1734-4AD6-B09C-2DF3DA0C1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946" y="3354570"/>
            <a:ext cx="1767028" cy="148860"/>
          </a:xfrm>
          <a:prstGeom prst="rect">
            <a:avLst/>
          </a:prstGeom>
        </p:spPr>
      </p:pic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2F18A13C-DB1F-4FE6-9AED-E308B5597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7900" y="325931"/>
            <a:ext cx="9371445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pt-BR" noProof="0"/>
              <a:t>Clique para editar o título Mestre</a:t>
            </a:r>
            <a:endParaRPr lang="en-US" noProof="0"/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D4AD5B7E-9B94-473B-6217-FC3AF7445674}"/>
              </a:ext>
            </a:extLst>
          </p:cNvPr>
          <p:cNvGrpSpPr/>
          <p:nvPr userDrawn="1"/>
        </p:nvGrpSpPr>
        <p:grpSpPr>
          <a:xfrm>
            <a:off x="468867" y="448056"/>
            <a:ext cx="352543" cy="331511"/>
            <a:chOff x="468867" y="448056"/>
            <a:chExt cx="352543" cy="331511"/>
          </a:xfrm>
        </p:grpSpPr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AE75B00F-AB09-30C5-5492-F9C692213957}"/>
                </a:ext>
              </a:extLst>
            </p:cNvPr>
            <p:cNvSpPr/>
            <p:nvPr/>
          </p:nvSpPr>
          <p:spPr bwMode="gray">
            <a:xfrm>
              <a:off x="485041" y="448056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785EC7C5-3828-6E6B-CB18-C3F8BE68FBD5}"/>
                </a:ext>
              </a:extLst>
            </p:cNvPr>
            <p:cNvSpPr/>
            <p:nvPr/>
          </p:nvSpPr>
          <p:spPr bwMode="gray">
            <a:xfrm>
              <a:off x="485041" y="573669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2ACB2252-C44F-6632-F9C9-EBEB140E265C}"/>
                </a:ext>
              </a:extLst>
            </p:cNvPr>
            <p:cNvSpPr/>
            <p:nvPr/>
          </p:nvSpPr>
          <p:spPr bwMode="gray">
            <a:xfrm>
              <a:off x="485041" y="697924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tângulo 12">
              <a:hlinkClick r:id="rId4" action="ppaction://hlinksldjump"/>
              <a:extLst>
                <a:ext uri="{FF2B5EF4-FFF2-40B4-BE49-F238E27FC236}">
                  <a16:creationId xmlns:a16="http://schemas.microsoft.com/office/drawing/2014/main" id="{F9AE3492-AD04-C80B-6719-15E01DA378BA}"/>
                </a:ext>
              </a:extLst>
            </p:cNvPr>
            <p:cNvSpPr/>
            <p:nvPr/>
          </p:nvSpPr>
          <p:spPr bwMode="gray">
            <a:xfrm>
              <a:off x="468867" y="456106"/>
              <a:ext cx="336370" cy="31676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89339"/>
      </p:ext>
    </p:extLst>
  </p:cSld>
  <p:clrMapOvr>
    <a:masterClrMapping/>
  </p:clrMapOvr>
  <p:transition>
    <p:fade/>
  </p:transition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 userDrawn="1"/>
        </p:nvSpPr>
        <p:spPr>
          <a:xfrm>
            <a:off x="12305314" y="402101"/>
            <a:ext cx="360000" cy="252000"/>
          </a:xfrm>
          <a:prstGeom prst="rect">
            <a:avLst/>
          </a:prstGeom>
          <a:solidFill>
            <a:srgbClr val="D8D7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12305314" y="1565333"/>
            <a:ext cx="360000" cy="252000"/>
          </a:xfrm>
          <a:prstGeom prst="rect">
            <a:avLst/>
          </a:prstGeom>
          <a:solidFill>
            <a:srgbClr val="0A55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5" name="Retângulo 14"/>
          <p:cNvSpPr/>
          <p:nvPr userDrawn="1"/>
        </p:nvSpPr>
        <p:spPr>
          <a:xfrm>
            <a:off x="12305314" y="3504053"/>
            <a:ext cx="360000" cy="252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6" name="Retângulo 15"/>
          <p:cNvSpPr/>
          <p:nvPr userDrawn="1"/>
        </p:nvSpPr>
        <p:spPr>
          <a:xfrm>
            <a:off x="12305314" y="3116309"/>
            <a:ext cx="360000" cy="252000"/>
          </a:xfrm>
          <a:prstGeom prst="rect">
            <a:avLst/>
          </a:prstGeom>
          <a:solidFill>
            <a:srgbClr val="ED1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7" name="Retângulo 16"/>
          <p:cNvSpPr/>
          <p:nvPr userDrawn="1"/>
        </p:nvSpPr>
        <p:spPr>
          <a:xfrm>
            <a:off x="12305314" y="4279541"/>
            <a:ext cx="360000" cy="252000"/>
          </a:xfrm>
          <a:prstGeom prst="rect">
            <a:avLst/>
          </a:prstGeom>
          <a:solidFill>
            <a:srgbClr val="8FC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8" name="Retângulo 17"/>
          <p:cNvSpPr/>
          <p:nvPr userDrawn="1"/>
        </p:nvSpPr>
        <p:spPr>
          <a:xfrm>
            <a:off x="12305314" y="3891797"/>
            <a:ext cx="360000" cy="252000"/>
          </a:xfrm>
          <a:prstGeom prst="rect">
            <a:avLst/>
          </a:prstGeom>
          <a:solidFill>
            <a:srgbClr val="662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19" name="Retângulo 18"/>
          <p:cNvSpPr/>
          <p:nvPr userDrawn="1"/>
        </p:nvSpPr>
        <p:spPr>
          <a:xfrm>
            <a:off x="12305314" y="4667285"/>
            <a:ext cx="360000" cy="252000"/>
          </a:xfrm>
          <a:prstGeom prst="rect">
            <a:avLst/>
          </a:prstGeom>
          <a:solidFill>
            <a:srgbClr val="E162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0" name="Retângulo 19"/>
          <p:cNvSpPr/>
          <p:nvPr userDrawn="1"/>
        </p:nvSpPr>
        <p:spPr>
          <a:xfrm>
            <a:off x="12305314" y="5442773"/>
            <a:ext cx="360000" cy="252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1" name="Retângulo 20"/>
          <p:cNvSpPr/>
          <p:nvPr userDrawn="1"/>
        </p:nvSpPr>
        <p:spPr>
          <a:xfrm>
            <a:off x="12305314" y="5055029"/>
            <a:ext cx="360000" cy="252000"/>
          </a:xfrm>
          <a:prstGeom prst="rect">
            <a:avLst/>
          </a:prstGeom>
          <a:solidFill>
            <a:srgbClr val="E47A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2" name="Retângulo 21"/>
          <p:cNvSpPr/>
          <p:nvPr userDrawn="1"/>
        </p:nvSpPr>
        <p:spPr>
          <a:xfrm>
            <a:off x="12305314" y="5830517"/>
            <a:ext cx="360000" cy="252000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3" name="Retângulo 22"/>
          <p:cNvSpPr/>
          <p:nvPr userDrawn="1"/>
        </p:nvSpPr>
        <p:spPr>
          <a:xfrm>
            <a:off x="12305314" y="6606000"/>
            <a:ext cx="360000" cy="252000"/>
          </a:xfrm>
          <a:prstGeom prst="rect">
            <a:avLst/>
          </a:prstGeom>
          <a:solidFill>
            <a:srgbClr val="FBD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4" name="Retângulo 23"/>
          <p:cNvSpPr/>
          <p:nvPr userDrawn="1"/>
        </p:nvSpPr>
        <p:spPr>
          <a:xfrm>
            <a:off x="12305314" y="6218261"/>
            <a:ext cx="360000" cy="252000"/>
          </a:xfrm>
          <a:prstGeom prst="rect">
            <a:avLst/>
          </a:prstGeom>
          <a:solidFill>
            <a:srgbClr val="006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5" name="Retângulo 24"/>
          <p:cNvSpPr/>
          <p:nvPr userDrawn="1"/>
        </p:nvSpPr>
        <p:spPr>
          <a:xfrm>
            <a:off x="12305314" y="14357"/>
            <a:ext cx="360000" cy="252000"/>
          </a:xfrm>
          <a:prstGeom prst="rect">
            <a:avLst/>
          </a:prstGeom>
          <a:solidFill>
            <a:srgbClr val="E3D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9" name="Retângulo 28"/>
          <p:cNvSpPr/>
          <p:nvPr userDrawn="1"/>
        </p:nvSpPr>
        <p:spPr>
          <a:xfrm>
            <a:off x="12305314" y="1953077"/>
            <a:ext cx="360000" cy="252000"/>
          </a:xfrm>
          <a:prstGeom prst="rect">
            <a:avLst/>
          </a:prstGeom>
          <a:solidFill>
            <a:srgbClr val="038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30" name="Retângulo 29"/>
          <p:cNvSpPr/>
          <p:nvPr userDrawn="1"/>
        </p:nvSpPr>
        <p:spPr>
          <a:xfrm>
            <a:off x="12305314" y="2340821"/>
            <a:ext cx="360000" cy="252000"/>
          </a:xfrm>
          <a:prstGeom prst="rect">
            <a:avLst/>
          </a:prstGeom>
          <a:solidFill>
            <a:srgbClr val="04B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31" name="Retângulo 30"/>
          <p:cNvSpPr/>
          <p:nvPr userDrawn="1"/>
        </p:nvSpPr>
        <p:spPr>
          <a:xfrm>
            <a:off x="12305314" y="2728565"/>
            <a:ext cx="360000" cy="252000"/>
          </a:xfrm>
          <a:prstGeom prst="rect">
            <a:avLst/>
          </a:prstGeom>
          <a:solidFill>
            <a:srgbClr val="56D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entury Gothic" panose="020B0502020202020204" pitchFamily="34" charset="0"/>
            </a:endParaRPr>
          </a:p>
        </p:txBody>
      </p:sp>
      <p:sp>
        <p:nvSpPr>
          <p:cNvPr id="27" name="Título 10">
            <a:extLst>
              <a:ext uri="{FF2B5EF4-FFF2-40B4-BE49-F238E27FC236}">
                <a16:creationId xmlns:a16="http://schemas.microsoft.com/office/drawing/2014/main" id="{AEA82AA2-27AD-4CD7-B55F-D95E47B62D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141" y="402336"/>
            <a:ext cx="9372600" cy="40233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pt-BR"/>
            </a:lvl1pPr>
          </a:lstStyle>
          <a:p>
            <a:pPr lvl="0"/>
            <a:r>
              <a:rPr lang="pt-B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9274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4" descr="Uma imagem contendo estrela, aceso, escuro, mesa&#10;&#10;Descrição gerada automaticamente">
            <a:extLst>
              <a:ext uri="{FF2B5EF4-FFF2-40B4-BE49-F238E27FC236}">
                <a16:creationId xmlns:a16="http://schemas.microsoft.com/office/drawing/2014/main" id="{07952596-4B28-C39B-CC16-B14F2E09E8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5" name="Google Shape;485;p1">
            <a:extLst>
              <a:ext uri="{FF2B5EF4-FFF2-40B4-BE49-F238E27FC236}">
                <a16:creationId xmlns:a16="http://schemas.microsoft.com/office/drawing/2014/main" id="{7B174522-36B2-AB7A-A639-5A3A6DA5C9B3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608978" y="48768"/>
            <a:ext cx="1606535" cy="11869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B195165B-9A7F-C5F3-5484-8829E1D04DA8}"/>
              </a:ext>
            </a:extLst>
          </p:cNvPr>
          <p:cNvGrpSpPr/>
          <p:nvPr userDrawn="1"/>
        </p:nvGrpSpPr>
        <p:grpSpPr>
          <a:xfrm>
            <a:off x="468867" y="448056"/>
            <a:ext cx="352543" cy="331511"/>
            <a:chOff x="468867" y="448056"/>
            <a:chExt cx="352543" cy="331511"/>
          </a:xfrm>
        </p:grpSpPr>
        <p:sp>
          <p:nvSpPr>
            <p:cNvPr id="4" name="Retângulo 3">
              <a:extLst>
                <a:ext uri="{FF2B5EF4-FFF2-40B4-BE49-F238E27FC236}">
                  <a16:creationId xmlns:a16="http://schemas.microsoft.com/office/drawing/2014/main" id="{E851E627-7201-CDD9-BBCE-2BD986624459}"/>
                </a:ext>
              </a:extLst>
            </p:cNvPr>
            <p:cNvSpPr/>
            <p:nvPr/>
          </p:nvSpPr>
          <p:spPr bwMode="gray">
            <a:xfrm>
              <a:off x="485041" y="448056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2AC734FF-27A1-BA06-AF5E-AD7341221BDB}"/>
                </a:ext>
              </a:extLst>
            </p:cNvPr>
            <p:cNvSpPr/>
            <p:nvPr/>
          </p:nvSpPr>
          <p:spPr bwMode="gray">
            <a:xfrm>
              <a:off x="485041" y="573669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667AA708-5EB2-CB82-E0CA-41D03606B67E}"/>
                </a:ext>
              </a:extLst>
            </p:cNvPr>
            <p:cNvSpPr/>
            <p:nvPr/>
          </p:nvSpPr>
          <p:spPr bwMode="gray">
            <a:xfrm>
              <a:off x="485041" y="697924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Retângulo 7">
              <a:hlinkClick r:id="rId4" action="ppaction://hlinksldjump"/>
              <a:extLst>
                <a:ext uri="{FF2B5EF4-FFF2-40B4-BE49-F238E27FC236}">
                  <a16:creationId xmlns:a16="http://schemas.microsoft.com/office/drawing/2014/main" id="{592C1CA1-4B18-C10B-ECEA-257EAB7EFA4C}"/>
                </a:ext>
              </a:extLst>
            </p:cNvPr>
            <p:cNvSpPr/>
            <p:nvPr/>
          </p:nvSpPr>
          <p:spPr bwMode="gray">
            <a:xfrm>
              <a:off x="468867" y="456106"/>
              <a:ext cx="336370" cy="31676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73167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ndo cinza">
    <p:bg>
      <p:bgPr>
        <a:solidFill>
          <a:schemeClr val="bg2">
            <a:lumMod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938E6AF-ED54-EBCE-B096-5CD2633C6CD2}"/>
              </a:ext>
            </a:extLst>
          </p:cNvPr>
          <p:cNvSpPr txBox="1"/>
          <p:nvPr userDrawn="1"/>
        </p:nvSpPr>
        <p:spPr>
          <a:xfrm>
            <a:off x="11414125" y="6635331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b="0" i="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700" b="0" i="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oogle Shape;485;p1">
            <a:extLst>
              <a:ext uri="{FF2B5EF4-FFF2-40B4-BE49-F238E27FC236}">
                <a16:creationId xmlns:a16="http://schemas.microsoft.com/office/drawing/2014/main" id="{AE59CF47-79C1-C899-5410-12B360E16269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622041" y="48768"/>
            <a:ext cx="1606535" cy="118696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1" name="Agrupar 20">
            <a:extLst>
              <a:ext uri="{FF2B5EF4-FFF2-40B4-BE49-F238E27FC236}">
                <a16:creationId xmlns:a16="http://schemas.microsoft.com/office/drawing/2014/main" id="{908E98E1-1879-81CF-4300-3BFD6EFF2A97}"/>
              </a:ext>
            </a:extLst>
          </p:cNvPr>
          <p:cNvGrpSpPr/>
          <p:nvPr userDrawn="1"/>
        </p:nvGrpSpPr>
        <p:grpSpPr>
          <a:xfrm>
            <a:off x="468867" y="448056"/>
            <a:ext cx="352543" cy="331511"/>
            <a:chOff x="468867" y="448056"/>
            <a:chExt cx="352543" cy="331511"/>
          </a:xfrm>
        </p:grpSpPr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8ECADDF1-029A-8F9C-1A00-A80123294521}"/>
                </a:ext>
              </a:extLst>
            </p:cNvPr>
            <p:cNvSpPr/>
            <p:nvPr/>
          </p:nvSpPr>
          <p:spPr bwMode="gray">
            <a:xfrm>
              <a:off x="485041" y="448056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B37BCEA6-C2B0-968D-61D9-2CAF9515B09D}"/>
                </a:ext>
              </a:extLst>
            </p:cNvPr>
            <p:cNvSpPr/>
            <p:nvPr/>
          </p:nvSpPr>
          <p:spPr bwMode="gray">
            <a:xfrm>
              <a:off x="485041" y="573669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C05115A5-F21E-FD0A-6A7A-826CF54D73FE}"/>
                </a:ext>
              </a:extLst>
            </p:cNvPr>
            <p:cNvSpPr/>
            <p:nvPr/>
          </p:nvSpPr>
          <p:spPr bwMode="gray">
            <a:xfrm>
              <a:off x="485041" y="697924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tângulo 24">
              <a:hlinkClick r:id="rId3" action="ppaction://hlinksldjump"/>
              <a:extLst>
                <a:ext uri="{FF2B5EF4-FFF2-40B4-BE49-F238E27FC236}">
                  <a16:creationId xmlns:a16="http://schemas.microsoft.com/office/drawing/2014/main" id="{4F3D6B96-0413-DE4E-8CB3-41EA2F65D304}"/>
                </a:ext>
              </a:extLst>
            </p:cNvPr>
            <p:cNvSpPr/>
            <p:nvPr/>
          </p:nvSpPr>
          <p:spPr bwMode="gray">
            <a:xfrm>
              <a:off x="468867" y="456106"/>
              <a:ext cx="336370" cy="31676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915649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069848" y="402586"/>
            <a:ext cx="9372600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pt-BR" noProof="0"/>
              <a:t>Clique para editar o título Mestre</a:t>
            </a:r>
            <a:endParaRPr lang="en-US" noProof="0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217031C7-B184-4C7C-AA7D-10C441249895}"/>
              </a:ext>
            </a:extLst>
          </p:cNvPr>
          <p:cNvGrpSpPr/>
          <p:nvPr userDrawn="1"/>
        </p:nvGrpSpPr>
        <p:grpSpPr>
          <a:xfrm>
            <a:off x="468867" y="449080"/>
            <a:ext cx="352543" cy="331511"/>
            <a:chOff x="-918829" y="402587"/>
            <a:chExt cx="565965" cy="534131"/>
          </a:xfrm>
        </p:grpSpPr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93A87138-F545-4D93-8208-101E0BF8AD4A}"/>
                </a:ext>
              </a:extLst>
            </p:cNvPr>
            <p:cNvSpPr/>
            <p:nvPr/>
          </p:nvSpPr>
          <p:spPr bwMode="gray">
            <a:xfrm>
              <a:off x="-892864" y="402587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B9DF26DE-C8E8-4CFA-BB06-E2E03FAFAD26}"/>
                </a:ext>
              </a:extLst>
            </p:cNvPr>
            <p:cNvSpPr/>
            <p:nvPr/>
          </p:nvSpPr>
          <p:spPr bwMode="gray">
            <a:xfrm>
              <a:off x="-892864" y="604975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5764A00F-3FDA-4E6C-8923-C2305EC35821}"/>
                </a:ext>
              </a:extLst>
            </p:cNvPr>
            <p:cNvSpPr/>
            <p:nvPr/>
          </p:nvSpPr>
          <p:spPr bwMode="gray">
            <a:xfrm>
              <a:off x="-892864" y="805174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Retângulo 7">
              <a:hlinkClick r:id="rId2" action="ppaction://hlinksldjump"/>
              <a:extLst>
                <a:ext uri="{FF2B5EF4-FFF2-40B4-BE49-F238E27FC236}">
                  <a16:creationId xmlns:a16="http://schemas.microsoft.com/office/drawing/2014/main" id="{A0CB62D1-E0F9-40B5-8867-9E47DDAD2A5C}"/>
                </a:ext>
              </a:extLst>
            </p:cNvPr>
            <p:cNvSpPr/>
            <p:nvPr/>
          </p:nvSpPr>
          <p:spPr bwMode="gray">
            <a:xfrm>
              <a:off x="-918829" y="415557"/>
              <a:ext cx="540001" cy="51037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041" y="1012459"/>
            <a:ext cx="995625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29FBE3D-F8E8-4C6E-A3A9-2F843C3D4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5"/>
            <a:ext cx="9371445" cy="4013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400"/>
            </a:lvl1pPr>
          </a:lstStyle>
          <a:p>
            <a:r>
              <a:rPr lang="pt-BR" noProof="0"/>
              <a:t>Clique para editar o título Mestre</a:t>
            </a:r>
            <a:endParaRPr lang="en-US" noProof="0"/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F4CB9762-9164-60D6-1EEA-84C37610F45B}"/>
              </a:ext>
            </a:extLst>
          </p:cNvPr>
          <p:cNvGrpSpPr/>
          <p:nvPr userDrawn="1"/>
        </p:nvGrpSpPr>
        <p:grpSpPr>
          <a:xfrm>
            <a:off x="468867" y="449080"/>
            <a:ext cx="352543" cy="331511"/>
            <a:chOff x="-918829" y="402587"/>
            <a:chExt cx="565965" cy="534131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A938381F-3BED-81B3-35CB-2E3897D15991}"/>
                </a:ext>
              </a:extLst>
            </p:cNvPr>
            <p:cNvSpPr/>
            <p:nvPr/>
          </p:nvSpPr>
          <p:spPr bwMode="gray">
            <a:xfrm>
              <a:off x="-892864" y="402587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0EA0A76F-3B39-933D-7DAB-B3D6B52690C4}"/>
                </a:ext>
              </a:extLst>
            </p:cNvPr>
            <p:cNvSpPr/>
            <p:nvPr/>
          </p:nvSpPr>
          <p:spPr bwMode="gray">
            <a:xfrm>
              <a:off x="-892864" y="604975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9589C62A-BA56-3340-8AD2-03B54159DF4E}"/>
                </a:ext>
              </a:extLst>
            </p:cNvPr>
            <p:cNvSpPr/>
            <p:nvPr/>
          </p:nvSpPr>
          <p:spPr bwMode="gray">
            <a:xfrm>
              <a:off x="-892864" y="805174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Retângulo 10">
              <a:hlinkClick r:id="rId2" action="ppaction://hlinksldjump"/>
              <a:extLst>
                <a:ext uri="{FF2B5EF4-FFF2-40B4-BE49-F238E27FC236}">
                  <a16:creationId xmlns:a16="http://schemas.microsoft.com/office/drawing/2014/main" id="{C9B7CF53-13CF-C74D-BADB-F3F78FC94C98}"/>
                </a:ext>
              </a:extLst>
            </p:cNvPr>
            <p:cNvSpPr/>
            <p:nvPr/>
          </p:nvSpPr>
          <p:spPr bwMode="gray">
            <a:xfrm>
              <a:off x="-918829" y="415557"/>
              <a:ext cx="540001" cy="51037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rgbClr val="3A3A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pt-BR" noProof="0"/>
              <a:t>Editar estilos de texto Mestre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2AE34A05-1348-4D07-A09B-79586A74BD7A}"/>
              </a:ext>
            </a:extLst>
          </p:cNvPr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t-BR" sz="650" b="0" i="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GT – Seu parceiro de negócios!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817E431-517F-4D1D-AAFE-DC596393B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7" y="402336"/>
            <a:ext cx="9372600" cy="40233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pt-BR" noProof="0"/>
              <a:t>Clique para editar o título Mestre</a:t>
            </a:r>
            <a:endParaRPr lang="en-US" noProof="0"/>
          </a:p>
        </p:txBody>
      </p:sp>
      <p:pic>
        <p:nvPicPr>
          <p:cNvPr id="16" name="Google Shape;485;p1">
            <a:extLst>
              <a:ext uri="{FF2B5EF4-FFF2-40B4-BE49-F238E27FC236}">
                <a16:creationId xmlns:a16="http://schemas.microsoft.com/office/drawing/2014/main" id="{8AFFA4B3-3B77-8A84-2EEE-39866FB087C6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622041" y="48768"/>
            <a:ext cx="1606535" cy="118696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" name="Agrupar 16">
            <a:extLst>
              <a:ext uri="{FF2B5EF4-FFF2-40B4-BE49-F238E27FC236}">
                <a16:creationId xmlns:a16="http://schemas.microsoft.com/office/drawing/2014/main" id="{DB9E07E3-BB97-2EB5-13C8-D8519694F796}"/>
              </a:ext>
            </a:extLst>
          </p:cNvPr>
          <p:cNvGrpSpPr/>
          <p:nvPr userDrawn="1"/>
        </p:nvGrpSpPr>
        <p:grpSpPr>
          <a:xfrm>
            <a:off x="468867" y="448056"/>
            <a:ext cx="352543" cy="331511"/>
            <a:chOff x="468867" y="448056"/>
            <a:chExt cx="352543" cy="331511"/>
          </a:xfrm>
        </p:grpSpPr>
        <p:sp>
          <p:nvSpPr>
            <p:cNvPr id="18" name="Retângulo 17">
              <a:extLst>
                <a:ext uri="{FF2B5EF4-FFF2-40B4-BE49-F238E27FC236}">
                  <a16:creationId xmlns:a16="http://schemas.microsoft.com/office/drawing/2014/main" id="{D0C6E3C8-A277-8C5F-5067-32DE124D0DF3}"/>
                </a:ext>
              </a:extLst>
            </p:cNvPr>
            <p:cNvSpPr/>
            <p:nvPr/>
          </p:nvSpPr>
          <p:spPr bwMode="gray">
            <a:xfrm>
              <a:off x="485041" y="448056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AA0DF0AE-4F36-43AF-84CC-C340CB503B9B}"/>
                </a:ext>
              </a:extLst>
            </p:cNvPr>
            <p:cNvSpPr/>
            <p:nvPr/>
          </p:nvSpPr>
          <p:spPr bwMode="gray">
            <a:xfrm>
              <a:off x="485041" y="573669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6C993DA3-291B-25DA-1A77-062331C2477C}"/>
                </a:ext>
              </a:extLst>
            </p:cNvPr>
            <p:cNvSpPr/>
            <p:nvPr/>
          </p:nvSpPr>
          <p:spPr bwMode="gray">
            <a:xfrm>
              <a:off x="485041" y="697924"/>
              <a:ext cx="336369" cy="81643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Retângulo 20">
              <a:hlinkClick r:id="rId3" action="ppaction://hlinksldjump"/>
              <a:extLst>
                <a:ext uri="{FF2B5EF4-FFF2-40B4-BE49-F238E27FC236}">
                  <a16:creationId xmlns:a16="http://schemas.microsoft.com/office/drawing/2014/main" id="{29984EFC-F2A6-905D-C3E3-C54DE705E191}"/>
                </a:ext>
              </a:extLst>
            </p:cNvPr>
            <p:cNvSpPr/>
            <p:nvPr/>
          </p:nvSpPr>
          <p:spPr bwMode="gray">
            <a:xfrm>
              <a:off x="468867" y="456106"/>
              <a:ext cx="336370" cy="31676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pt-BR" noProof="0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 b="1"/>
            </a:lvl1pPr>
            <a:lvl2pPr>
              <a:defRPr sz="1400" b="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4632" y="1014984"/>
            <a:ext cx="9957816" cy="548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noProof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B5AA850-EEB3-4FCB-B872-38A008CC8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6"/>
            <a:ext cx="9371445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 dirty="0"/>
            </a:lvl1pPr>
          </a:lstStyle>
          <a:p>
            <a:pPr lvl="0"/>
            <a:r>
              <a:rPr lang="pt-BR" noProof="0"/>
              <a:t>Clique para editar o título Mes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4632" y="1014984"/>
            <a:ext cx="9957816" cy="548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noProof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CA0F225-71EE-4783-9C9B-64253C519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9848" y="402336"/>
            <a:ext cx="9372600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pt-BR" noProof="0"/>
              <a:t>Clique para editar o título Mes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" Target="../slides/slid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069848" y="402586"/>
            <a:ext cx="9372600" cy="40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 noProof="0"/>
              <a:t>Clique para editar o título Mestre</a:t>
            </a:r>
            <a:endParaRPr lang="en-US" noProof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88"/>
            <a:ext cx="11303000" cy="4621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noProof="0"/>
              <a:t>Editar estilos de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4125" y="6635331"/>
            <a:ext cx="30797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b="0" i="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º›</a:t>
            </a:fld>
            <a:endParaRPr lang="en-US" sz="700" b="0" i="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oogle Shape;40;p154" descr="Logo_DGTConsultoria_af01-04.png">
            <a:extLst>
              <a:ext uri="{FF2B5EF4-FFF2-40B4-BE49-F238E27FC236}">
                <a16:creationId xmlns:a16="http://schemas.microsoft.com/office/drawing/2014/main" id="{0609B497-11EE-3D12-C4EC-6F8AA65C1EEE}"/>
              </a:ext>
            </a:extLst>
          </p:cNvPr>
          <p:cNvPicPr preferRelativeResize="0"/>
          <p:nvPr userDrawn="1"/>
        </p:nvPicPr>
        <p:blipFill rotWithShape="1">
          <a:blip r:embed="rId21">
            <a:alphaModFix/>
          </a:blip>
          <a:srcRect t="6697" b="6696"/>
          <a:stretch/>
        </p:blipFill>
        <p:spPr>
          <a:xfrm>
            <a:off x="10569292" y="114947"/>
            <a:ext cx="1750710" cy="107202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4EFED489-320D-4790-30C1-745F1830E97A}"/>
              </a:ext>
            </a:extLst>
          </p:cNvPr>
          <p:cNvGrpSpPr/>
          <p:nvPr userDrawn="1"/>
        </p:nvGrpSpPr>
        <p:grpSpPr>
          <a:xfrm>
            <a:off x="468867" y="449080"/>
            <a:ext cx="352543" cy="331511"/>
            <a:chOff x="-918829" y="402587"/>
            <a:chExt cx="565965" cy="534131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315FD507-1E93-5B82-A6AB-E75C3616A8A7}"/>
                </a:ext>
              </a:extLst>
            </p:cNvPr>
            <p:cNvSpPr/>
            <p:nvPr/>
          </p:nvSpPr>
          <p:spPr bwMode="gray">
            <a:xfrm>
              <a:off x="-892864" y="402587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DED29AF9-9D8D-71EE-2018-DBDDF78AA89A}"/>
                </a:ext>
              </a:extLst>
            </p:cNvPr>
            <p:cNvSpPr/>
            <p:nvPr/>
          </p:nvSpPr>
          <p:spPr bwMode="gray">
            <a:xfrm>
              <a:off x="-892864" y="604975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9FC0448C-BE6E-3B94-8CC4-F2385F653B9D}"/>
                </a:ext>
              </a:extLst>
            </p:cNvPr>
            <p:cNvSpPr/>
            <p:nvPr/>
          </p:nvSpPr>
          <p:spPr bwMode="gray">
            <a:xfrm>
              <a:off x="-892864" y="805174"/>
              <a:ext cx="540000" cy="131544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Retângulo 8">
              <a:hlinkClick r:id="rId22" action="ppaction://hlinksldjump"/>
              <a:extLst>
                <a:ext uri="{FF2B5EF4-FFF2-40B4-BE49-F238E27FC236}">
                  <a16:creationId xmlns:a16="http://schemas.microsoft.com/office/drawing/2014/main" id="{355E7944-A41C-1ECD-2531-7A24725761F3}"/>
                </a:ext>
              </a:extLst>
            </p:cNvPr>
            <p:cNvSpPr/>
            <p:nvPr/>
          </p:nvSpPr>
          <p:spPr bwMode="gray">
            <a:xfrm>
              <a:off x="-918829" y="415557"/>
              <a:ext cx="540001" cy="51037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0" i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64" r:id="rId2"/>
    <p:sldLayoutId id="2147483765" r:id="rId3"/>
    <p:sldLayoutId id="2147483752" r:id="rId4"/>
    <p:sldLayoutId id="2147483695" r:id="rId5"/>
    <p:sldLayoutId id="2147483711" r:id="rId6"/>
    <p:sldLayoutId id="2147483753" r:id="rId7"/>
    <p:sldLayoutId id="2147483678" r:id="rId8"/>
    <p:sldLayoutId id="2147483697" r:id="rId9"/>
    <p:sldLayoutId id="2147483715" r:id="rId10"/>
    <p:sldLayoutId id="2147483716" r:id="rId11"/>
    <p:sldLayoutId id="2147483717" r:id="rId12"/>
    <p:sldLayoutId id="2147483696" r:id="rId13"/>
    <p:sldLayoutId id="2147483757" r:id="rId14"/>
    <p:sldLayoutId id="2147483762" r:id="rId15"/>
    <p:sldLayoutId id="2147483763" r:id="rId16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400" b="1" i="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400" b="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400" b="0" i="0" kern="120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400" b="0" i="0" kern="1200" baseline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400" b="0" i="0" kern="1200" baseline="0" dirty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7416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3960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dgt-consultoria.com.br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image" Target="../media/image8.png"/><Relationship Id="rId16" Type="http://schemas.openxmlformats.org/officeDocument/2006/relationships/image" Target="../media/image29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slide" Target="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7" Type="http://schemas.openxmlformats.org/officeDocument/2006/relationships/image" Target="../media/image53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image" Target="../media/image54.png"/><Relationship Id="rId21" Type="http://schemas.openxmlformats.org/officeDocument/2006/relationships/image" Target="../media/image72.svg"/><Relationship Id="rId7" Type="http://schemas.openxmlformats.org/officeDocument/2006/relationships/image" Target="../media/image58.png"/><Relationship Id="rId12" Type="http://schemas.openxmlformats.org/officeDocument/2006/relationships/image" Target="../media/image63.svg"/><Relationship Id="rId17" Type="http://schemas.openxmlformats.org/officeDocument/2006/relationships/image" Target="../media/image68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sv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5" Type="http://schemas.openxmlformats.org/officeDocument/2006/relationships/image" Target="../media/image56.png"/><Relationship Id="rId15" Type="http://schemas.openxmlformats.org/officeDocument/2006/relationships/image" Target="../media/image66.svg"/><Relationship Id="rId23" Type="http://schemas.openxmlformats.org/officeDocument/2006/relationships/image" Target="../media/image74.svg"/><Relationship Id="rId10" Type="http://schemas.openxmlformats.org/officeDocument/2006/relationships/image" Target="../media/image61.svg"/><Relationship Id="rId19" Type="http://schemas.openxmlformats.org/officeDocument/2006/relationships/image" Target="../media/image70.png"/><Relationship Id="rId4" Type="http://schemas.openxmlformats.org/officeDocument/2006/relationships/image" Target="../media/image55.sv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3" Type="http://schemas.openxmlformats.org/officeDocument/2006/relationships/image" Target="../media/image54.png"/><Relationship Id="rId7" Type="http://schemas.openxmlformats.org/officeDocument/2006/relationships/image" Target="../media/image77.png"/><Relationship Id="rId12" Type="http://schemas.openxmlformats.org/officeDocument/2006/relationships/image" Target="../media/image82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64.png"/><Relationship Id="rId10" Type="http://schemas.openxmlformats.org/officeDocument/2006/relationships/image" Target="../media/image80.png"/><Relationship Id="rId4" Type="http://schemas.openxmlformats.org/officeDocument/2006/relationships/image" Target="../media/image55.svg"/><Relationship Id="rId9" Type="http://schemas.openxmlformats.org/officeDocument/2006/relationships/image" Target="../media/image79.png"/><Relationship Id="rId14" Type="http://schemas.openxmlformats.org/officeDocument/2006/relationships/image" Target="../media/image8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ítulo 8">
            <a:extLst>
              <a:ext uri="{FF2B5EF4-FFF2-40B4-BE49-F238E27FC236}">
                <a16:creationId xmlns:a16="http://schemas.microsoft.com/office/drawing/2014/main" id="{1E8F2CBF-AA39-4189-9939-E2547F8D7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97097" y="2546252"/>
            <a:ext cx="6934685" cy="1766428"/>
          </a:xfrm>
        </p:spPr>
        <p:txBody>
          <a:bodyPr anchor="ctr"/>
          <a:lstStyle/>
          <a:p>
            <a:r>
              <a:rPr lang="pt-BR" sz="3100" b="0" dirty="0" err="1">
                <a:solidFill>
                  <a:srgbClr val="FFC000"/>
                </a:solidFill>
              </a:rPr>
              <a:t>Hiperautomação</a:t>
            </a:r>
            <a:r>
              <a:rPr lang="pt-BR" sz="3100" b="0" dirty="0">
                <a:solidFill>
                  <a:srgbClr val="FFC000"/>
                </a:solidFill>
              </a:rPr>
              <a:t> – Abordagem Pragmática &amp; Cases</a:t>
            </a:r>
            <a:endParaRPr lang="en-US" sz="3100" b="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2707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91BD817-ED31-4962-832B-1254437B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402335"/>
            <a:ext cx="9371445" cy="401391"/>
          </a:xfrm>
        </p:spPr>
        <p:txBody>
          <a:bodyPr/>
          <a:lstStyle/>
          <a:p>
            <a:r>
              <a:rPr lang="pt-BR" sz="2400" dirty="0"/>
              <a:t>Venha Conhecer a DGT</a:t>
            </a:r>
            <a:endParaRPr lang="en-US" sz="2400" dirty="0"/>
          </a:p>
        </p:txBody>
      </p:sp>
      <p:pic>
        <p:nvPicPr>
          <p:cNvPr id="3" name="Imagem 2" descr="Código QR&#10;&#10;Descrição gerada automaticamente">
            <a:extLst>
              <a:ext uri="{FF2B5EF4-FFF2-40B4-BE49-F238E27FC236}">
                <a16:creationId xmlns:a16="http://schemas.microsoft.com/office/drawing/2014/main" id="{66C3F651-C617-E1A8-6964-8CC3DBE76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3325" y="4111400"/>
            <a:ext cx="2111797" cy="2111797"/>
          </a:xfrm>
          <a:prstGeom prst="rect">
            <a:avLst/>
          </a:prstGeom>
        </p:spPr>
      </p:pic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24286879-470B-9582-A321-21235EEA6865}"/>
              </a:ext>
            </a:extLst>
          </p:cNvPr>
          <p:cNvSpPr/>
          <p:nvPr/>
        </p:nvSpPr>
        <p:spPr bwMode="gray">
          <a:xfrm>
            <a:off x="9079034" y="3846941"/>
            <a:ext cx="2578214" cy="2608724"/>
          </a:xfrm>
          <a:prstGeom prst="roundRect">
            <a:avLst/>
          </a:prstGeom>
          <a:noFill/>
          <a:ln w="57150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C754CC7-D342-7DE0-6DA1-04F17EFB117E}"/>
              </a:ext>
            </a:extLst>
          </p:cNvPr>
          <p:cNvSpPr txBox="1"/>
          <p:nvPr/>
        </p:nvSpPr>
        <p:spPr>
          <a:xfrm>
            <a:off x="68517" y="1285019"/>
            <a:ext cx="3807857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ão Agnóstica &amp; Consultiva</a:t>
            </a:r>
          </a:p>
          <a:p>
            <a:endParaRPr lang="pt-BR" sz="18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rdagem abrangente, pragmática e tecnologicamente agnóstica, garantindo soluções eficientes e resultados tangíveis</a:t>
            </a: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stão de Processos</a:t>
            </a:r>
          </a:p>
          <a:p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</a:t>
            </a:r>
          </a:p>
          <a:p>
            <a:r>
              <a:rPr lang="pt-BR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rdagem abrangente, pragmática e tecnologicamente agnóstica, garantindo soluções eficientes e resultados tangíveis</a:t>
            </a:r>
          </a:p>
          <a:p>
            <a:endParaRPr lang="pt-BR" b="1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4678F140-E960-814C-E5D3-F90071D0CA60}"/>
              </a:ext>
            </a:extLst>
          </p:cNvPr>
          <p:cNvSpPr txBox="1"/>
          <p:nvPr/>
        </p:nvSpPr>
        <p:spPr>
          <a:xfrm>
            <a:off x="4120665" y="1279120"/>
            <a:ext cx="4035782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aS</a:t>
            </a:r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pt-BR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sformation</a:t>
            </a:r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a Service)</a:t>
            </a: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DGT oferece Sustentação Inteligente para automações RPA, garantindo a eficácia e disponibilidade dos robôs por meio de gestão integrada e proativa, monitoramento contínuo e correção ágil de falhas</a:t>
            </a:r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MONI</a:t>
            </a: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 Sistema de Monitoramento da DGT é projetado para controlar o seu parque de automações, gerenciando alarmes e KPIs de várias plataformas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3F6B8413-521E-46B3-B919-31CB2F749AAA}"/>
              </a:ext>
            </a:extLst>
          </p:cNvPr>
          <p:cNvCxnSpPr/>
          <p:nvPr/>
        </p:nvCxnSpPr>
        <p:spPr>
          <a:xfrm>
            <a:off x="188259" y="2169459"/>
            <a:ext cx="923365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66CCA485-427A-7E57-0DD2-EC3EC65E1EFE}"/>
              </a:ext>
            </a:extLst>
          </p:cNvPr>
          <p:cNvCxnSpPr/>
          <p:nvPr/>
        </p:nvCxnSpPr>
        <p:spPr>
          <a:xfrm>
            <a:off x="188259" y="4966447"/>
            <a:ext cx="923365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49A55B77-574A-E780-885E-01BC7487165B}"/>
              </a:ext>
            </a:extLst>
          </p:cNvPr>
          <p:cNvCxnSpPr>
            <a:cxnSpLocks/>
          </p:cNvCxnSpPr>
          <p:nvPr/>
        </p:nvCxnSpPr>
        <p:spPr>
          <a:xfrm>
            <a:off x="4218816" y="2169459"/>
            <a:ext cx="737232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B286C6E1-7E8F-89E6-6905-B1C566CC0B4B}"/>
              </a:ext>
            </a:extLst>
          </p:cNvPr>
          <p:cNvCxnSpPr>
            <a:cxnSpLocks/>
          </p:cNvCxnSpPr>
          <p:nvPr/>
        </p:nvCxnSpPr>
        <p:spPr>
          <a:xfrm>
            <a:off x="4218816" y="4939553"/>
            <a:ext cx="66408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A6331A7D-A9BC-F604-F301-8380387A13E5}"/>
              </a:ext>
            </a:extLst>
          </p:cNvPr>
          <p:cNvCxnSpPr/>
          <p:nvPr/>
        </p:nvCxnSpPr>
        <p:spPr>
          <a:xfrm>
            <a:off x="3912231" y="1139599"/>
            <a:ext cx="0" cy="541468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9A9DDB91-23C9-E825-3757-28453B779048}"/>
              </a:ext>
            </a:extLst>
          </p:cNvPr>
          <p:cNvSpPr txBox="1"/>
          <p:nvPr/>
        </p:nvSpPr>
        <p:spPr>
          <a:xfrm>
            <a:off x="8777404" y="1285019"/>
            <a:ext cx="3342876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ponsible</a:t>
            </a:r>
            <a:r>
              <a:rPr lang="pt-BR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I</a:t>
            </a:r>
          </a:p>
          <a:p>
            <a:endParaRPr lang="pt-BR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t-BR" sz="1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fere-se a desenvolver e aplicar IA de forma ética, considerando viés, privacidade e equidade, visando benefícios sociais e minimizando impactos negativos.</a:t>
            </a:r>
          </a:p>
        </p:txBody>
      </p: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5EEB6DE0-05D1-803D-F58C-3504620273C2}"/>
              </a:ext>
            </a:extLst>
          </p:cNvPr>
          <p:cNvCxnSpPr>
            <a:cxnSpLocks/>
          </p:cNvCxnSpPr>
          <p:nvPr/>
        </p:nvCxnSpPr>
        <p:spPr>
          <a:xfrm>
            <a:off x="8889784" y="1782543"/>
            <a:ext cx="68452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42378A5E-E22A-03E7-B309-A44067115186}"/>
              </a:ext>
            </a:extLst>
          </p:cNvPr>
          <p:cNvCxnSpPr/>
          <p:nvPr/>
        </p:nvCxnSpPr>
        <p:spPr>
          <a:xfrm>
            <a:off x="8545191" y="1139599"/>
            <a:ext cx="0" cy="541468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139931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91BD817-ED31-4962-832B-1254437B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402335"/>
            <a:ext cx="9371445" cy="401391"/>
          </a:xfrm>
        </p:spPr>
        <p:txBody>
          <a:bodyPr/>
          <a:lstStyle/>
          <a:p>
            <a:r>
              <a:rPr lang="pt-BR" sz="2400" dirty="0"/>
              <a:t>Perguntas</a:t>
            </a:r>
            <a:endParaRPr lang="en-US" sz="2400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1C2A96F-623B-3E83-32F2-74FC285F46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280065"/>
            <a:ext cx="9686925" cy="497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7293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font, logo, graphics&#10;&#10;Description automatically generated">
            <a:extLst>
              <a:ext uri="{FF2B5EF4-FFF2-40B4-BE49-F238E27FC236}">
                <a16:creationId xmlns:a16="http://schemas.microsoft.com/office/drawing/2014/main" id="{32A54C93-336F-CC1E-5D55-6491E89759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0838" y="1358309"/>
            <a:ext cx="5930324" cy="4190668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36CE8E46-7102-4C92-ADEE-AA0D463C21C3}"/>
              </a:ext>
            </a:extLst>
          </p:cNvPr>
          <p:cNvSpPr txBox="1"/>
          <p:nvPr/>
        </p:nvSpPr>
        <p:spPr>
          <a:xfrm>
            <a:off x="3396919" y="4886634"/>
            <a:ext cx="53981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pt-BR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www.dgt-consultoria.com.br</a:t>
            </a:r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2952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14" descr="A picture containing mountain, outdoor, sky, snow&#10;&#10;Description automatically generated">
            <a:extLst>
              <a:ext uri="{FF2B5EF4-FFF2-40B4-BE49-F238E27FC236}">
                <a16:creationId xmlns:a16="http://schemas.microsoft.com/office/drawing/2014/main" id="{6DAC763F-206F-4336-DFFB-933BA7C4854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5000"/>
          </a:blip>
          <a:srcRect l="49221" t="8468" r="-420"/>
          <a:stretch/>
        </p:blipFill>
        <p:spPr>
          <a:xfrm>
            <a:off x="265533" y="1068575"/>
            <a:ext cx="11269241" cy="54941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Título 2">
            <a:extLst>
              <a:ext uri="{FF2B5EF4-FFF2-40B4-BE49-F238E27FC236}">
                <a16:creationId xmlns:a16="http://schemas.microsoft.com/office/drawing/2014/main" id="{CBF05EC7-675A-BDE6-A827-7BC0F033AC89}"/>
              </a:ext>
            </a:extLst>
          </p:cNvPr>
          <p:cNvSpPr txBox="1">
            <a:spLocks/>
          </p:cNvSpPr>
          <p:nvPr/>
        </p:nvSpPr>
        <p:spPr>
          <a:xfrm>
            <a:off x="980948" y="370074"/>
            <a:ext cx="9207226" cy="698501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pt-BR">
                <a:solidFill>
                  <a:schemeClr val="bg1"/>
                </a:solidFill>
              </a:rPr>
              <a:t>Sobre a </a:t>
            </a:r>
            <a:r>
              <a:rPr lang="pt-BR" err="1">
                <a:solidFill>
                  <a:schemeClr val="bg1"/>
                </a:solidFill>
              </a:rPr>
              <a:t>DG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Espaço Reservado para Conteúdo 12">
            <a:extLst>
              <a:ext uri="{FF2B5EF4-FFF2-40B4-BE49-F238E27FC236}">
                <a16:creationId xmlns:a16="http://schemas.microsoft.com/office/drawing/2014/main" id="{1E2E60B1-8B94-FABB-8D6F-47093A3F6924}"/>
              </a:ext>
            </a:extLst>
          </p:cNvPr>
          <p:cNvSpPr txBox="1">
            <a:spLocks/>
          </p:cNvSpPr>
          <p:nvPr/>
        </p:nvSpPr>
        <p:spPr>
          <a:xfrm>
            <a:off x="370309" y="1460204"/>
            <a:ext cx="6621041" cy="4791498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Rubik Light" panose="00000400000000000000" pitchFamily="2" charset="-79"/>
                <a:ea typeface="+mn-ea"/>
                <a:cs typeface="Rubik Light" panose="00000400000000000000" pitchFamily="2" charset="-79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400" b="1" kern="1200" dirty="0" smtClean="0">
                <a:solidFill>
                  <a:schemeClr val="tx1"/>
                </a:solidFill>
                <a:latin typeface="Rubik Light" panose="00000400000000000000" pitchFamily="2" charset="-79"/>
                <a:ea typeface="+mn-ea"/>
                <a:cs typeface="Rubik Light" panose="00000400000000000000" pitchFamily="2" charset="-79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Rubik Light" panose="00000400000000000000" pitchFamily="2" charset="-79"/>
                <a:ea typeface="+mn-ea"/>
                <a:cs typeface="Rubik Light" panose="00000400000000000000" pitchFamily="2" charset="-79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Rubik Light" panose="00000400000000000000" pitchFamily="2" charset="-79"/>
                <a:ea typeface="+mn-ea"/>
                <a:cs typeface="Rubik Light" panose="00000400000000000000" pitchFamily="2" charset="-79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Rubik Light" panose="00000400000000000000" pitchFamily="2" charset="-79"/>
                <a:ea typeface="+mn-ea"/>
                <a:cs typeface="Rubik Light" panose="00000400000000000000" pitchFamily="2" charset="-79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DGT é uma empresa jovem que nasceu da </a:t>
            </a:r>
            <a:r>
              <a:rPr lang="pt-BR" sz="2200" dirty="0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ão de executivos sêniores de grandes consultorias</a:t>
            </a: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aportando sua </a:t>
            </a:r>
            <a:r>
              <a:rPr lang="pt-BR" sz="2200" dirty="0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eriência</a:t>
            </a: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 atendimento à empresas  nacionais e globais para </a:t>
            </a:r>
            <a:r>
              <a:rPr lang="pt-BR" sz="2200" dirty="0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ribuir na transformação de nossos clie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mos focados em fazer com que nossos clientes, independente do seu porte ou do seu segmento de negócio, obtenham </a:t>
            </a:r>
            <a:r>
              <a:rPr lang="pt-BR" sz="2200" dirty="0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ior eficiência, sucesso, produtividade e resultados reais através da tecnolog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mos um importante pilar de </a:t>
            </a:r>
            <a:r>
              <a:rPr lang="pt-BR" sz="2200" dirty="0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ultoria</a:t>
            </a: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onde a experiência dos sócios e do time multidisciplinar da DGT, contribui com nossos clientes nos diversos desafios que aparecem no mundo da Tecnologia</a:t>
            </a:r>
            <a:endParaRPr lang="en-US" sz="22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E5600530-C921-4DC0-A9CB-04B380C42B62}"/>
              </a:ext>
            </a:extLst>
          </p:cNvPr>
          <p:cNvSpPr/>
          <p:nvPr/>
        </p:nvSpPr>
        <p:spPr bwMode="gray">
          <a:xfrm>
            <a:off x="7208249" y="999870"/>
            <a:ext cx="603291" cy="5631560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E5E481CF-636A-276B-9074-BC6FB14E180B}"/>
              </a:ext>
            </a:extLst>
          </p:cNvPr>
          <p:cNvSpPr txBox="1"/>
          <p:nvPr/>
        </p:nvSpPr>
        <p:spPr>
          <a:xfrm>
            <a:off x="7853205" y="3295813"/>
            <a:ext cx="1586042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b="1">
                <a:solidFill>
                  <a:schemeClr val="bg1"/>
                </a:solidFill>
                <a:latin typeface="Calibri" panose="020F0502020204030204" pitchFamily="34" charset="0"/>
              </a:rPr>
              <a:t>NOSSOS </a:t>
            </a:r>
          </a:p>
          <a:p>
            <a:pPr>
              <a:spcBef>
                <a:spcPts val="600"/>
              </a:spcBef>
              <a:buSzPct val="100000"/>
            </a:pPr>
            <a:r>
              <a:rPr lang="pt-BR" b="1">
                <a:solidFill>
                  <a:srgbClr val="FFC000"/>
                </a:solidFill>
                <a:latin typeface="Calibri" panose="020F0502020204030204" pitchFamily="34" charset="0"/>
              </a:rPr>
              <a:t>VALORES</a:t>
            </a:r>
          </a:p>
        </p:txBody>
      </p: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9F918EDE-313C-AA4F-FDF0-9FD0A80FBA19}"/>
              </a:ext>
            </a:extLst>
          </p:cNvPr>
          <p:cNvGrpSpPr/>
          <p:nvPr/>
        </p:nvGrpSpPr>
        <p:grpSpPr>
          <a:xfrm>
            <a:off x="8382952" y="1332964"/>
            <a:ext cx="1371600" cy="1371600"/>
            <a:chOff x="1309857" y="1224034"/>
            <a:chExt cx="1371600" cy="1371600"/>
          </a:xfrm>
          <a:solidFill>
            <a:schemeClr val="bg2">
              <a:lumMod val="10000"/>
            </a:schemeClr>
          </a:solidFill>
        </p:grpSpPr>
        <p:sp>
          <p:nvSpPr>
            <p:cNvPr id="47" name="Pentágono 46">
              <a:extLst>
                <a:ext uri="{FF2B5EF4-FFF2-40B4-BE49-F238E27FC236}">
                  <a16:creationId xmlns:a16="http://schemas.microsoft.com/office/drawing/2014/main" id="{6CE00303-938E-A06F-0DA1-AF9DB7A5F1C8}"/>
                </a:ext>
              </a:extLst>
            </p:cNvPr>
            <p:cNvSpPr/>
            <p:nvPr/>
          </p:nvSpPr>
          <p:spPr bwMode="gray">
            <a:xfrm rot="14100000" flipH="1">
              <a:off x="1309857" y="1224034"/>
              <a:ext cx="1371600" cy="1371600"/>
            </a:xfrm>
            <a:prstGeom prst="pentag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0C083F51-BA49-B2D8-343D-72372AB713D2}"/>
                </a:ext>
              </a:extLst>
            </p:cNvPr>
            <p:cNvSpPr txBox="1"/>
            <p:nvPr/>
          </p:nvSpPr>
          <p:spPr>
            <a:xfrm>
              <a:off x="1546338" y="1465433"/>
              <a:ext cx="925211" cy="369332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r">
                <a:buSzPct val="100000"/>
                <a:defRPr sz="1200">
                  <a:solidFill>
                    <a:schemeClr val="bg1"/>
                  </a:solidFill>
                  <a:latin typeface="Rubik Medium" panose="00000600000000000000" pitchFamily="2" charset="-79"/>
                  <a:cs typeface="Rubik Medium" panose="00000600000000000000" pitchFamily="2" charset="-79"/>
                </a:defRPr>
              </a:lvl1pPr>
            </a:lstStyle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Sucesso</a:t>
              </a:r>
            </a:p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do Cliente</a:t>
              </a:r>
              <a:endParaRPr lang="en-US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1" name="Conector reto 50">
              <a:extLst>
                <a:ext uri="{FF2B5EF4-FFF2-40B4-BE49-F238E27FC236}">
                  <a16:creationId xmlns:a16="http://schemas.microsoft.com/office/drawing/2014/main" id="{7EA7832F-F357-AA13-3F8D-28B395C8A6C1}"/>
                </a:ext>
              </a:extLst>
            </p:cNvPr>
            <p:cNvCxnSpPr/>
            <p:nvPr/>
          </p:nvCxnSpPr>
          <p:spPr>
            <a:xfrm flipV="1">
              <a:off x="1450172" y="1866981"/>
              <a:ext cx="1206000" cy="6929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5" descr="C:\Users\jsauvageau\Desktop\3.png">
              <a:extLst>
                <a:ext uri="{FF2B5EF4-FFF2-40B4-BE49-F238E27FC236}">
                  <a16:creationId xmlns:a16="http://schemas.microsoft.com/office/drawing/2014/main" id="{0E65DAC0-2B15-0C3F-5D62-C10C3129E4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7650" y="1960300"/>
              <a:ext cx="396129" cy="338968"/>
            </a:xfrm>
            <a:prstGeom prst="rect">
              <a:avLst/>
            </a:prstGeom>
            <a:grpFill/>
          </p:spPr>
        </p:pic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009B398B-18B2-1AA1-4F3F-2B8F3D461188}"/>
              </a:ext>
            </a:extLst>
          </p:cNvPr>
          <p:cNvGrpSpPr/>
          <p:nvPr/>
        </p:nvGrpSpPr>
        <p:grpSpPr>
          <a:xfrm>
            <a:off x="9356293" y="2004170"/>
            <a:ext cx="1371600" cy="1371600"/>
            <a:chOff x="2283198" y="1895240"/>
            <a:chExt cx="1371600" cy="1371600"/>
          </a:xfrm>
          <a:solidFill>
            <a:schemeClr val="tx2">
              <a:lumMod val="75000"/>
            </a:schemeClr>
          </a:solidFill>
        </p:grpSpPr>
        <p:sp>
          <p:nvSpPr>
            <p:cNvPr id="54" name="Pentágono 53">
              <a:extLst>
                <a:ext uri="{FF2B5EF4-FFF2-40B4-BE49-F238E27FC236}">
                  <a16:creationId xmlns:a16="http://schemas.microsoft.com/office/drawing/2014/main" id="{F23C58C6-D805-80CE-AE9F-4C881E1A8576}"/>
                </a:ext>
              </a:extLst>
            </p:cNvPr>
            <p:cNvSpPr/>
            <p:nvPr/>
          </p:nvSpPr>
          <p:spPr bwMode="gray">
            <a:xfrm rot="16200000" flipH="1">
              <a:off x="2283198" y="1895240"/>
              <a:ext cx="1371600" cy="1371600"/>
            </a:xfrm>
            <a:prstGeom prst="pentagon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6000"/>
                </a:lnSpc>
              </a:pPr>
              <a:endParaRPr lang="en-US" sz="1600" b="1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5" name="CaixaDeTexto 54">
              <a:extLst>
                <a:ext uri="{FF2B5EF4-FFF2-40B4-BE49-F238E27FC236}">
                  <a16:creationId xmlns:a16="http://schemas.microsoft.com/office/drawing/2014/main" id="{3EA96C88-DBB1-EAAD-1749-F06D33126FD7}"/>
                </a:ext>
              </a:extLst>
            </p:cNvPr>
            <p:cNvSpPr txBox="1"/>
            <p:nvPr/>
          </p:nvSpPr>
          <p:spPr>
            <a:xfrm>
              <a:off x="2449630" y="2189493"/>
              <a:ext cx="99526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r">
                <a:buSzPct val="100000"/>
                <a:defRPr sz="1200">
                  <a:solidFill>
                    <a:schemeClr val="bg1"/>
                  </a:solidFill>
                  <a:latin typeface="Rubik Medium" panose="00000600000000000000" pitchFamily="2" charset="-79"/>
                  <a:cs typeface="Rubik Medium" panose="00000600000000000000" pitchFamily="2" charset="-79"/>
                </a:defRPr>
              </a:lvl1pPr>
            </a:lstStyle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    Simplificar,</a:t>
              </a:r>
            </a:p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sempre!</a:t>
              </a:r>
              <a:endParaRPr lang="en-US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6" name="Conector reto 55">
              <a:extLst>
                <a:ext uri="{FF2B5EF4-FFF2-40B4-BE49-F238E27FC236}">
                  <a16:creationId xmlns:a16="http://schemas.microsoft.com/office/drawing/2014/main" id="{E1B5A67B-FFC0-2264-B15A-9722BED2F5F7}"/>
                </a:ext>
              </a:extLst>
            </p:cNvPr>
            <p:cNvCxnSpPr/>
            <p:nvPr/>
          </p:nvCxnSpPr>
          <p:spPr>
            <a:xfrm flipV="1">
              <a:off x="2294672" y="2588952"/>
              <a:ext cx="1206000" cy="6929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7" name="Imagem 56">
              <a:extLst>
                <a:ext uri="{FF2B5EF4-FFF2-40B4-BE49-F238E27FC236}">
                  <a16:creationId xmlns:a16="http://schemas.microsoft.com/office/drawing/2014/main" id="{8ADBAD6E-03F2-4FCD-8EB9-53FC192B9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25000"/>
            </a:blip>
            <a:stretch>
              <a:fillRect/>
            </a:stretch>
          </p:blipFill>
          <p:spPr>
            <a:xfrm>
              <a:off x="2692727" y="2614334"/>
              <a:ext cx="524001" cy="524001"/>
            </a:xfrm>
            <a:prstGeom prst="rect">
              <a:avLst/>
            </a:prstGeom>
            <a:grpFill/>
          </p:spPr>
        </p:pic>
      </p:grpSp>
      <p:grpSp>
        <p:nvGrpSpPr>
          <p:cNvPr id="58" name="Agrupar 57">
            <a:extLst>
              <a:ext uri="{FF2B5EF4-FFF2-40B4-BE49-F238E27FC236}">
                <a16:creationId xmlns:a16="http://schemas.microsoft.com/office/drawing/2014/main" id="{AD7B3899-3298-0A96-5AFA-E2EBFABAC9B9}"/>
              </a:ext>
            </a:extLst>
          </p:cNvPr>
          <p:cNvGrpSpPr/>
          <p:nvPr/>
        </p:nvGrpSpPr>
        <p:grpSpPr>
          <a:xfrm>
            <a:off x="9764228" y="3126045"/>
            <a:ext cx="1371600" cy="1371600"/>
            <a:chOff x="2691133" y="3017115"/>
            <a:chExt cx="1371600" cy="1371600"/>
          </a:xfrm>
        </p:grpSpPr>
        <p:sp>
          <p:nvSpPr>
            <p:cNvPr id="59" name="Pentágono 58">
              <a:extLst>
                <a:ext uri="{FF2B5EF4-FFF2-40B4-BE49-F238E27FC236}">
                  <a16:creationId xmlns:a16="http://schemas.microsoft.com/office/drawing/2014/main" id="{9440CAC8-B44A-6682-B5E9-D6F43E5C59EB}"/>
                </a:ext>
              </a:extLst>
            </p:cNvPr>
            <p:cNvSpPr/>
            <p:nvPr/>
          </p:nvSpPr>
          <p:spPr bwMode="gray">
            <a:xfrm rot="18342951" flipH="1">
              <a:off x="2691133" y="3017115"/>
              <a:ext cx="1371600" cy="1371600"/>
            </a:xfrm>
            <a:prstGeom prst="pentagon">
              <a:avLst/>
            </a:prstGeom>
            <a:solidFill>
              <a:srgbClr val="FFC000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0" name="CaixaDeTexto 59">
              <a:extLst>
                <a:ext uri="{FF2B5EF4-FFF2-40B4-BE49-F238E27FC236}">
                  <a16:creationId xmlns:a16="http://schemas.microsoft.com/office/drawing/2014/main" id="{4FF17B5F-0366-DBF5-2EFB-F7B75F410595}"/>
                </a:ext>
              </a:extLst>
            </p:cNvPr>
            <p:cNvSpPr txBox="1"/>
            <p:nvPr/>
          </p:nvSpPr>
          <p:spPr>
            <a:xfrm>
              <a:off x="2961513" y="3326127"/>
              <a:ext cx="837793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r">
                <a:buSzPct val="100000"/>
                <a:defRPr sz="1200">
                  <a:solidFill>
                    <a:schemeClr val="bg1"/>
                  </a:solidFill>
                  <a:latin typeface="Rubik Medium" panose="00000600000000000000" pitchFamily="2" charset="-79"/>
                  <a:cs typeface="Rubik Medium" panose="00000600000000000000" pitchFamily="2" charset="-79"/>
                </a:defRPr>
              </a:lvl1pPr>
            </a:lstStyle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Buscar</a:t>
              </a:r>
            </a:p>
            <a:p>
              <a:pPr algn="l"/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Resultados</a:t>
              </a:r>
              <a:endParaRPr lang="en-US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E57608D8-F1CB-655A-953E-01931EF3CE8D}"/>
                </a:ext>
              </a:extLst>
            </p:cNvPr>
            <p:cNvCxnSpPr/>
            <p:nvPr/>
          </p:nvCxnSpPr>
          <p:spPr>
            <a:xfrm flipV="1">
              <a:off x="2849026" y="3731590"/>
              <a:ext cx="1206000" cy="6929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2" name="Picture 14" descr="Image result for results white icon">
              <a:extLst>
                <a:ext uri="{FF2B5EF4-FFF2-40B4-BE49-F238E27FC236}">
                  <a16:creationId xmlns:a16="http://schemas.microsoft.com/office/drawing/2014/main" id="{3719D90F-AA81-C3DD-B85B-0DF1DA8EFB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4459" y="3762241"/>
              <a:ext cx="498749" cy="498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68331E74-C85F-2DEC-5807-E1F31CC00289}"/>
              </a:ext>
            </a:extLst>
          </p:cNvPr>
          <p:cNvGrpSpPr/>
          <p:nvPr/>
        </p:nvGrpSpPr>
        <p:grpSpPr>
          <a:xfrm>
            <a:off x="8340310" y="5054255"/>
            <a:ext cx="1482437" cy="1371600"/>
            <a:chOff x="1267215" y="4945325"/>
            <a:chExt cx="1482437" cy="1371600"/>
          </a:xfrm>
          <a:solidFill>
            <a:srgbClr val="3382B1"/>
          </a:solidFill>
        </p:grpSpPr>
        <p:sp>
          <p:nvSpPr>
            <p:cNvPr id="64" name="Pentágono 63">
              <a:extLst>
                <a:ext uri="{FF2B5EF4-FFF2-40B4-BE49-F238E27FC236}">
                  <a16:creationId xmlns:a16="http://schemas.microsoft.com/office/drawing/2014/main" id="{064A6DEB-F0C8-CF9D-64EE-CFE8AFC152B8}"/>
                </a:ext>
              </a:extLst>
            </p:cNvPr>
            <p:cNvSpPr/>
            <p:nvPr/>
          </p:nvSpPr>
          <p:spPr bwMode="gray">
            <a:xfrm rot="14100000" flipH="1">
              <a:off x="1267215" y="4945325"/>
              <a:ext cx="1371600" cy="1371600"/>
            </a:xfrm>
            <a:prstGeom prst="pentagon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5" name="CaixaDeTexto 64">
              <a:extLst>
                <a:ext uri="{FF2B5EF4-FFF2-40B4-BE49-F238E27FC236}">
                  <a16:creationId xmlns:a16="http://schemas.microsoft.com/office/drawing/2014/main" id="{54B278DA-C2CA-E3F5-2BBE-A9E2E22C485B}"/>
                </a:ext>
              </a:extLst>
            </p:cNvPr>
            <p:cNvSpPr txBox="1"/>
            <p:nvPr/>
          </p:nvSpPr>
          <p:spPr>
            <a:xfrm>
              <a:off x="1472140" y="5197389"/>
              <a:ext cx="127751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SzPct val="100000"/>
              </a:pPr>
              <a:r>
                <a:rPr lang="pt-BR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Ética e</a:t>
              </a:r>
            </a:p>
            <a:p>
              <a:pPr>
                <a:buSzPct val="100000"/>
              </a:pPr>
              <a:r>
                <a:rPr lang="pt-BR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ransparência</a:t>
              </a:r>
              <a:endParaRPr lang="en-US" sz="1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A9288C29-E51B-612D-6300-ED04C7E94E8A}"/>
                </a:ext>
              </a:extLst>
            </p:cNvPr>
            <p:cNvCxnSpPr/>
            <p:nvPr/>
          </p:nvCxnSpPr>
          <p:spPr>
            <a:xfrm flipV="1">
              <a:off x="1424468" y="5591235"/>
              <a:ext cx="1206000" cy="6929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38C7E035-1CBF-3BA9-75F8-EEF77182D38A}"/>
              </a:ext>
            </a:extLst>
          </p:cNvPr>
          <p:cNvGrpSpPr/>
          <p:nvPr/>
        </p:nvGrpSpPr>
        <p:grpSpPr>
          <a:xfrm>
            <a:off x="9367118" y="4311587"/>
            <a:ext cx="1371600" cy="1371600"/>
            <a:chOff x="2294023" y="4202657"/>
            <a:chExt cx="1371600" cy="1371600"/>
          </a:xfrm>
          <a:solidFill>
            <a:srgbClr val="E89372"/>
          </a:solidFill>
        </p:grpSpPr>
        <p:sp>
          <p:nvSpPr>
            <p:cNvPr id="68" name="Pentágono 67">
              <a:extLst>
                <a:ext uri="{FF2B5EF4-FFF2-40B4-BE49-F238E27FC236}">
                  <a16:creationId xmlns:a16="http://schemas.microsoft.com/office/drawing/2014/main" id="{1265D1E9-9FC9-E0A6-71FB-58D86443859C}"/>
                </a:ext>
              </a:extLst>
            </p:cNvPr>
            <p:cNvSpPr/>
            <p:nvPr/>
          </p:nvSpPr>
          <p:spPr bwMode="gray">
            <a:xfrm rot="16320000" flipH="1">
              <a:off x="2294023" y="4202657"/>
              <a:ext cx="1371600" cy="1371600"/>
            </a:xfrm>
            <a:prstGeom prst="pentagon">
              <a:avLst/>
            </a:prstGeom>
            <a:solidFill>
              <a:schemeClr val="tx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0E754954-A970-8D40-49E5-FFE10CF3A530}"/>
                </a:ext>
              </a:extLst>
            </p:cNvPr>
            <p:cNvSpPr txBox="1"/>
            <p:nvPr/>
          </p:nvSpPr>
          <p:spPr>
            <a:xfrm>
              <a:off x="2476947" y="4489980"/>
              <a:ext cx="111408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r">
                <a:buSzPct val="100000"/>
                <a:defRPr sz="1200">
                  <a:solidFill>
                    <a:schemeClr val="bg1"/>
                  </a:solidFill>
                  <a:latin typeface="Rubik Medium" panose="00000600000000000000" pitchFamily="2" charset="-79"/>
                  <a:cs typeface="Rubik Medium" panose="00000600000000000000" pitchFamily="2" charset="-79"/>
                </a:defRPr>
              </a:lvl1pPr>
            </a:lstStyle>
            <a:p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Compartilhar   </a:t>
              </a:r>
            </a:p>
            <a:p>
              <a:r>
                <a:rPr lang="pt-BR" b="1">
                  <a:latin typeface="Calibri" panose="020F0502020204030204" pitchFamily="34" charset="0"/>
                  <a:cs typeface="Calibri" panose="020F0502020204030204" pitchFamily="34" charset="0"/>
                </a:rPr>
                <a:t>Conhecimento</a:t>
              </a:r>
              <a:endParaRPr lang="en-US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70" name="Conector reto 69">
              <a:extLst>
                <a:ext uri="{FF2B5EF4-FFF2-40B4-BE49-F238E27FC236}">
                  <a16:creationId xmlns:a16="http://schemas.microsoft.com/office/drawing/2014/main" id="{039F5BAF-489D-AE2C-D81F-BB445BFBCFA9}"/>
                </a:ext>
              </a:extLst>
            </p:cNvPr>
            <p:cNvCxnSpPr/>
            <p:nvPr/>
          </p:nvCxnSpPr>
          <p:spPr>
            <a:xfrm flipV="1">
              <a:off x="2306956" y="4868787"/>
              <a:ext cx="1206000" cy="6929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1" name="Gráfico 70" descr="Balança da justiça com preenchimento sólido">
            <a:extLst>
              <a:ext uri="{FF2B5EF4-FFF2-40B4-BE49-F238E27FC236}">
                <a16:creationId xmlns:a16="http://schemas.microsoft.com/office/drawing/2014/main" id="{4A4DC9F8-FCB3-D033-F2FE-78BC8E78E4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32925" y="5740055"/>
            <a:ext cx="534842" cy="534842"/>
          </a:xfrm>
          <a:prstGeom prst="rect">
            <a:avLst/>
          </a:prstGeom>
        </p:spPr>
      </p:pic>
      <p:pic>
        <p:nvPicPr>
          <p:cNvPr id="72" name="Gráfico 71" descr="Professor com preenchimento sólido">
            <a:extLst>
              <a:ext uri="{FF2B5EF4-FFF2-40B4-BE49-F238E27FC236}">
                <a16:creationId xmlns:a16="http://schemas.microsoft.com/office/drawing/2014/main" id="{EE1CF209-B97E-1341-0938-EC47086C68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22747" y="4960915"/>
            <a:ext cx="608947" cy="608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9169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mountain, outdoor, sky, snow&#10;&#10;Description automatically generated">
            <a:extLst>
              <a:ext uri="{FF2B5EF4-FFF2-40B4-BE49-F238E27FC236}">
                <a16:creationId xmlns:a16="http://schemas.microsoft.com/office/drawing/2014/main" id="{57F694C2-E3C4-14DE-ABE3-1970F6587F6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5000"/>
          </a:blip>
          <a:srcRect l="49221" t="8468" r="-420"/>
          <a:stretch/>
        </p:blipFill>
        <p:spPr>
          <a:xfrm>
            <a:off x="784809" y="1073154"/>
            <a:ext cx="10807116" cy="56315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2AA5F9C6-7996-4FFF-89B0-7E0AC5442A9C}"/>
              </a:ext>
            </a:extLst>
          </p:cNvPr>
          <p:cNvSpPr txBox="1"/>
          <p:nvPr/>
        </p:nvSpPr>
        <p:spPr>
          <a:xfrm>
            <a:off x="916999" y="1680371"/>
            <a:ext cx="6106180" cy="1764394"/>
          </a:xfrm>
          <a:prstGeom prst="rect">
            <a:avLst/>
          </a:prstGeom>
          <a:noFill/>
        </p:spPr>
        <p:txBody>
          <a:bodyPr wrap="square" lIns="91440" tIns="0" rIns="0" bIns="0" rtlCol="0">
            <a:spAutoFit/>
          </a:bodyPr>
          <a:lstStyle/>
          <a:p>
            <a:pPr marL="0" lvl="1">
              <a:lnSpc>
                <a:spcPts val="3500"/>
              </a:lnSpc>
              <a:spcAft>
                <a:spcPts val="1333"/>
              </a:spcAft>
              <a:buSzPct val="100000"/>
              <a:tabLst>
                <a:tab pos="6705432" algn="r"/>
              </a:tabLst>
            </a:pPr>
            <a:r>
              <a:rPr lang="pt-BR" sz="2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judar as empresas a se transformar com maior agilidade, produtividade e eficiência usando tecnologias e práticas inovadoras que entreguem resultados reai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B94B83-0671-CC77-52BE-B2FC8E080B0E}"/>
              </a:ext>
            </a:extLst>
          </p:cNvPr>
          <p:cNvSpPr txBox="1"/>
          <p:nvPr/>
        </p:nvSpPr>
        <p:spPr>
          <a:xfrm>
            <a:off x="916998" y="1149829"/>
            <a:ext cx="385121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b="1">
                <a:solidFill>
                  <a:schemeClr val="bg1"/>
                </a:solidFill>
                <a:latin typeface="Calibri" panose="020F0502020204030204" pitchFamily="34" charset="0"/>
              </a:rPr>
              <a:t>NOSSA</a:t>
            </a:r>
            <a:r>
              <a:rPr lang="pt-BR" b="1">
                <a:latin typeface="Calibri" panose="020F0502020204030204" pitchFamily="34" charset="0"/>
              </a:rPr>
              <a:t> </a:t>
            </a:r>
            <a:r>
              <a:rPr lang="pt-BR" b="1">
                <a:solidFill>
                  <a:srgbClr val="FFC000"/>
                </a:solidFill>
                <a:latin typeface="Calibri" panose="020F0502020204030204" pitchFamily="34" charset="0"/>
              </a:rPr>
              <a:t>MISSÃ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F69415-2356-AF33-5DC2-BDAC27C5CC94}"/>
              </a:ext>
            </a:extLst>
          </p:cNvPr>
          <p:cNvSpPr txBox="1"/>
          <p:nvPr/>
        </p:nvSpPr>
        <p:spPr>
          <a:xfrm>
            <a:off x="916998" y="3811845"/>
            <a:ext cx="44544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b="1">
                <a:solidFill>
                  <a:schemeClr val="bg1"/>
                </a:solidFill>
                <a:latin typeface="Calibri" panose="020F0502020204030204" pitchFamily="34" charset="0"/>
              </a:rPr>
              <a:t>NOSSO </a:t>
            </a:r>
            <a:r>
              <a:rPr lang="pt-BR" b="1">
                <a:solidFill>
                  <a:srgbClr val="FFC000"/>
                </a:solidFill>
                <a:latin typeface="Calibri" panose="020F0502020204030204" pitchFamily="34" charset="0"/>
              </a:rPr>
              <a:t>PORTFÓFLI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35A7A0-5F09-9C95-F836-30996DBAF450}"/>
              </a:ext>
            </a:extLst>
          </p:cNvPr>
          <p:cNvSpPr txBox="1"/>
          <p:nvPr/>
        </p:nvSpPr>
        <p:spPr>
          <a:xfrm>
            <a:off x="1876799" y="4479042"/>
            <a:ext cx="250480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oria </a:t>
            </a:r>
            <a:b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 Tecnologi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87F2F5-DD73-743C-BDC5-4277BE502551}"/>
              </a:ext>
            </a:extLst>
          </p:cNvPr>
          <p:cNvSpPr txBox="1"/>
          <p:nvPr/>
        </p:nvSpPr>
        <p:spPr>
          <a:xfrm>
            <a:off x="1876799" y="5651021"/>
            <a:ext cx="289141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lementação de Soluções &amp; Produtos</a:t>
            </a:r>
          </a:p>
        </p:txBody>
      </p:sp>
      <p:pic>
        <p:nvPicPr>
          <p:cNvPr id="42" name="Gráfico 41" descr="Internet das Coisas com preenchimento sólido">
            <a:extLst>
              <a:ext uri="{FF2B5EF4-FFF2-40B4-BE49-F238E27FC236}">
                <a16:creationId xmlns:a16="http://schemas.microsoft.com/office/drawing/2014/main" id="{77D9249F-1319-0402-AE6C-8EA9D3760A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6172" y="4513855"/>
            <a:ext cx="769441" cy="769441"/>
          </a:xfrm>
          <a:prstGeom prst="rect">
            <a:avLst/>
          </a:prstGeom>
        </p:spPr>
      </p:pic>
      <p:pic>
        <p:nvPicPr>
          <p:cNvPr id="44" name="Gráfico 43" descr="Computação em Nuvem estrutura de tópicos">
            <a:extLst>
              <a:ext uri="{FF2B5EF4-FFF2-40B4-BE49-F238E27FC236}">
                <a16:creationId xmlns:a16="http://schemas.microsoft.com/office/drawing/2014/main" id="{3AB66A75-FC67-BFD3-BFE1-E5DC1A0336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6172" y="5592568"/>
            <a:ext cx="769442" cy="769442"/>
          </a:xfrm>
          <a:prstGeom prst="rect">
            <a:avLst/>
          </a:prstGeom>
        </p:spPr>
      </p:pic>
      <p:sp>
        <p:nvSpPr>
          <p:cNvPr id="49" name="Título 2">
            <a:extLst>
              <a:ext uri="{FF2B5EF4-FFF2-40B4-BE49-F238E27FC236}">
                <a16:creationId xmlns:a16="http://schemas.microsoft.com/office/drawing/2014/main" id="{CBF05EC7-675A-BDE6-A827-7BC0F033AC89}"/>
              </a:ext>
            </a:extLst>
          </p:cNvPr>
          <p:cNvSpPr txBox="1">
            <a:spLocks/>
          </p:cNvSpPr>
          <p:nvPr/>
        </p:nvSpPr>
        <p:spPr>
          <a:xfrm>
            <a:off x="980948" y="370074"/>
            <a:ext cx="9207226" cy="698501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pt-BR">
                <a:solidFill>
                  <a:schemeClr val="bg1"/>
                </a:solidFill>
              </a:rPr>
              <a:t>Sobre a </a:t>
            </a:r>
            <a:r>
              <a:rPr lang="pt-BR" err="1">
                <a:solidFill>
                  <a:schemeClr val="bg1"/>
                </a:solidFill>
              </a:rPr>
              <a:t>DG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51DD5C7E-92AA-8DED-9DE8-18A39DC2A238}"/>
              </a:ext>
            </a:extLst>
          </p:cNvPr>
          <p:cNvSpPr/>
          <p:nvPr/>
        </p:nvSpPr>
        <p:spPr bwMode="gray">
          <a:xfrm>
            <a:off x="6896069" y="1063629"/>
            <a:ext cx="441340" cy="5631560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B9DB696A-3204-F61A-9740-8E0BC57F983A}"/>
              </a:ext>
            </a:extLst>
          </p:cNvPr>
          <p:cNvSpPr/>
          <p:nvPr/>
        </p:nvSpPr>
        <p:spPr bwMode="gray">
          <a:xfrm>
            <a:off x="784809" y="3527496"/>
            <a:ext cx="6403336" cy="208762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34" name="Elipse 33">
            <a:extLst>
              <a:ext uri="{FF2B5EF4-FFF2-40B4-BE49-F238E27FC236}">
                <a16:creationId xmlns:a16="http://schemas.microsoft.com/office/drawing/2014/main" id="{505051A6-4A82-3C0F-9AF0-0E15A462B9F6}"/>
              </a:ext>
            </a:extLst>
          </p:cNvPr>
          <p:cNvSpPr/>
          <p:nvPr/>
        </p:nvSpPr>
        <p:spPr bwMode="gray">
          <a:xfrm>
            <a:off x="7614088" y="1383963"/>
            <a:ext cx="792292" cy="770632"/>
          </a:xfrm>
          <a:prstGeom prst="ellipse">
            <a:avLst/>
          </a:prstGeom>
          <a:noFill/>
          <a:ln w="317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433BBAEB-5EF1-83A0-163C-9C31FE05B80C}"/>
              </a:ext>
            </a:extLst>
          </p:cNvPr>
          <p:cNvSpPr/>
          <p:nvPr/>
        </p:nvSpPr>
        <p:spPr bwMode="gray">
          <a:xfrm>
            <a:off x="7614088" y="2449125"/>
            <a:ext cx="792292" cy="771054"/>
          </a:xfrm>
          <a:prstGeom prst="ellipse">
            <a:avLst/>
          </a:prstGeom>
          <a:noFill/>
          <a:ln w="317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17641965-B764-14B3-CFF3-E93B010CDD60}"/>
              </a:ext>
            </a:extLst>
          </p:cNvPr>
          <p:cNvSpPr/>
          <p:nvPr/>
        </p:nvSpPr>
        <p:spPr bwMode="gray">
          <a:xfrm>
            <a:off x="7614088" y="3531483"/>
            <a:ext cx="792292" cy="771054"/>
          </a:xfrm>
          <a:prstGeom prst="ellipse">
            <a:avLst/>
          </a:prstGeom>
          <a:noFill/>
          <a:ln w="317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7F6D4FF9-5062-5925-32AB-5D3D02B11E1F}"/>
              </a:ext>
            </a:extLst>
          </p:cNvPr>
          <p:cNvSpPr/>
          <p:nvPr/>
        </p:nvSpPr>
        <p:spPr bwMode="gray">
          <a:xfrm>
            <a:off x="7614088" y="4587542"/>
            <a:ext cx="792292" cy="771054"/>
          </a:xfrm>
          <a:prstGeom prst="ellipse">
            <a:avLst/>
          </a:prstGeom>
          <a:noFill/>
          <a:ln w="317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id="{13C85230-2026-7200-ADB2-DBB4B71FE4E3}"/>
              </a:ext>
            </a:extLst>
          </p:cNvPr>
          <p:cNvSpPr/>
          <p:nvPr/>
        </p:nvSpPr>
        <p:spPr bwMode="gray">
          <a:xfrm>
            <a:off x="7614088" y="5651871"/>
            <a:ext cx="792292" cy="771054"/>
          </a:xfrm>
          <a:prstGeom prst="ellipse">
            <a:avLst/>
          </a:prstGeom>
          <a:noFill/>
          <a:ln w="317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pic>
        <p:nvPicPr>
          <p:cNvPr id="47" name="Gráfico 46" descr="Apresentação com gráfico de barras com preenchimento sólido">
            <a:extLst>
              <a:ext uri="{FF2B5EF4-FFF2-40B4-BE49-F238E27FC236}">
                <a16:creationId xmlns:a16="http://schemas.microsoft.com/office/drawing/2014/main" id="{FED8656D-A10E-76DD-B971-8C7AD2D438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17301" y="1487906"/>
            <a:ext cx="585865" cy="585865"/>
          </a:xfrm>
          <a:prstGeom prst="rect">
            <a:avLst/>
          </a:prstGeom>
        </p:spPr>
      </p:pic>
      <p:pic>
        <p:nvPicPr>
          <p:cNvPr id="51" name="Gráfico 50" descr="Cérebro na cabeça estrutura de tópicos">
            <a:extLst>
              <a:ext uri="{FF2B5EF4-FFF2-40B4-BE49-F238E27FC236}">
                <a16:creationId xmlns:a16="http://schemas.microsoft.com/office/drawing/2014/main" id="{CC03E4B4-81B8-1ACB-5641-941041A88C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37154" y="2530711"/>
            <a:ext cx="585865" cy="585865"/>
          </a:xfrm>
          <a:prstGeom prst="rect">
            <a:avLst/>
          </a:prstGeom>
        </p:spPr>
      </p:pic>
      <p:pic>
        <p:nvPicPr>
          <p:cNvPr id="53" name="Gráfico 52" descr="Fluxograma com preenchimento sólido">
            <a:extLst>
              <a:ext uri="{FF2B5EF4-FFF2-40B4-BE49-F238E27FC236}">
                <a16:creationId xmlns:a16="http://schemas.microsoft.com/office/drawing/2014/main" id="{3956117C-DB7A-AEDE-8C4C-5404F80747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86747" y="3578914"/>
            <a:ext cx="666021" cy="666021"/>
          </a:xfrm>
          <a:prstGeom prst="rect">
            <a:avLst/>
          </a:prstGeom>
        </p:spPr>
      </p:pic>
      <p:pic>
        <p:nvPicPr>
          <p:cNvPr id="55" name="Gráfico 54" descr="Interface do Usuário/Experiência do Usuário estrutura de tópicos">
            <a:extLst>
              <a:ext uri="{FF2B5EF4-FFF2-40B4-BE49-F238E27FC236}">
                <a16:creationId xmlns:a16="http://schemas.microsoft.com/office/drawing/2014/main" id="{4507AE5F-0EAB-C1F6-F722-B30C874277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34114" y="4706369"/>
            <a:ext cx="571500" cy="571500"/>
          </a:xfrm>
          <a:prstGeom prst="rect">
            <a:avLst/>
          </a:prstGeom>
        </p:spPr>
      </p:pic>
      <p:pic>
        <p:nvPicPr>
          <p:cNvPr id="57" name="Gráfico 56" descr="Ciclo com pessoas com preenchimento sólido">
            <a:extLst>
              <a:ext uri="{FF2B5EF4-FFF2-40B4-BE49-F238E27FC236}">
                <a16:creationId xmlns:a16="http://schemas.microsoft.com/office/drawing/2014/main" id="{55C1A218-8CF3-FBA5-BBF9-4E364D628F4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57443" y="5658201"/>
            <a:ext cx="714375" cy="714375"/>
          </a:xfrm>
          <a:prstGeom prst="rect">
            <a:avLst/>
          </a:prstGeom>
        </p:spPr>
      </p:pic>
      <p:sp>
        <p:nvSpPr>
          <p:cNvPr id="60" name="TextBox 8">
            <a:extLst>
              <a:ext uri="{FF2B5EF4-FFF2-40B4-BE49-F238E27FC236}">
                <a16:creationId xmlns:a16="http://schemas.microsoft.com/office/drawing/2014/main" id="{497E61C8-8836-2FD4-CDEB-E9D6F27EA216}"/>
              </a:ext>
            </a:extLst>
          </p:cNvPr>
          <p:cNvSpPr txBox="1"/>
          <p:nvPr/>
        </p:nvSpPr>
        <p:spPr>
          <a:xfrm>
            <a:off x="8509593" y="1384558"/>
            <a:ext cx="250480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oria </a:t>
            </a:r>
            <a:b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 Tecnologia</a:t>
            </a:r>
          </a:p>
        </p:txBody>
      </p:sp>
      <p:sp>
        <p:nvSpPr>
          <p:cNvPr id="61" name="TextBox 8">
            <a:extLst>
              <a:ext uri="{FF2B5EF4-FFF2-40B4-BE49-F238E27FC236}">
                <a16:creationId xmlns:a16="http://schemas.microsoft.com/office/drawing/2014/main" id="{D2A37078-0187-9527-BB03-822599408A2C}"/>
              </a:ext>
            </a:extLst>
          </p:cNvPr>
          <p:cNvSpPr txBox="1"/>
          <p:nvPr/>
        </p:nvSpPr>
        <p:spPr>
          <a:xfrm>
            <a:off x="8554631" y="2438922"/>
            <a:ext cx="2504803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ligência</a:t>
            </a:r>
          </a:p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ificial</a:t>
            </a:r>
          </a:p>
        </p:txBody>
      </p:sp>
      <p:sp>
        <p:nvSpPr>
          <p:cNvPr id="62" name="TextBox 8">
            <a:extLst>
              <a:ext uri="{FF2B5EF4-FFF2-40B4-BE49-F238E27FC236}">
                <a16:creationId xmlns:a16="http://schemas.microsoft.com/office/drawing/2014/main" id="{28E704B0-BDBF-E6F5-DD7D-606FDA95D862}"/>
              </a:ext>
            </a:extLst>
          </p:cNvPr>
          <p:cNvSpPr txBox="1"/>
          <p:nvPr/>
        </p:nvSpPr>
        <p:spPr>
          <a:xfrm>
            <a:off x="8554630" y="3692540"/>
            <a:ext cx="250480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yperautomation</a:t>
            </a:r>
            <a:endParaRPr lang="pt-BR" sz="2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TextBox 8">
            <a:extLst>
              <a:ext uri="{FF2B5EF4-FFF2-40B4-BE49-F238E27FC236}">
                <a16:creationId xmlns:a16="http://schemas.microsoft.com/office/drawing/2014/main" id="{F7320C00-1DB4-67DB-A6D8-D93F852B020B}"/>
              </a:ext>
            </a:extLst>
          </p:cNvPr>
          <p:cNvSpPr txBox="1"/>
          <p:nvPr/>
        </p:nvSpPr>
        <p:spPr>
          <a:xfrm>
            <a:off x="8554630" y="4589155"/>
            <a:ext cx="250480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formação Digital</a:t>
            </a:r>
          </a:p>
        </p:txBody>
      </p:sp>
      <p:sp>
        <p:nvSpPr>
          <p:cNvPr id="64" name="TextBox 8">
            <a:extLst>
              <a:ext uri="{FF2B5EF4-FFF2-40B4-BE49-F238E27FC236}">
                <a16:creationId xmlns:a16="http://schemas.microsoft.com/office/drawing/2014/main" id="{568D6E57-558B-FB58-90C8-6413AAD7EC53}"/>
              </a:ext>
            </a:extLst>
          </p:cNvPr>
          <p:cNvSpPr txBox="1"/>
          <p:nvPr/>
        </p:nvSpPr>
        <p:spPr>
          <a:xfrm>
            <a:off x="8509592" y="5820297"/>
            <a:ext cx="250480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os</a:t>
            </a:r>
          </a:p>
        </p:txBody>
      </p:sp>
    </p:spTree>
    <p:extLst>
      <p:ext uri="{BB962C8B-B14F-4D97-AF65-F5344CB8AC3E}">
        <p14:creationId xmlns:p14="http://schemas.microsoft.com/office/powerpoint/2010/main" val="24284982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7B39A3C8-0A85-4B70-8D05-19D864FDAB51}"/>
              </a:ext>
            </a:extLst>
          </p:cNvPr>
          <p:cNvSpPr/>
          <p:nvPr/>
        </p:nvSpPr>
        <p:spPr bwMode="gray">
          <a:xfrm>
            <a:off x="5123328" y="4335213"/>
            <a:ext cx="6325721" cy="995127"/>
          </a:xfrm>
          <a:prstGeom prst="roundRect">
            <a:avLst/>
          </a:prstGeom>
          <a:noFill/>
          <a:ln w="19050" algn="ctr">
            <a:solidFill>
              <a:srgbClr val="ED8B00"/>
            </a:solidFill>
            <a:miter lim="800000"/>
            <a:headEnd/>
            <a:tailEnd/>
          </a:ln>
        </p:spPr>
        <p:txBody>
          <a:bodyPr wrap="square" lIns="73152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pt-BR" sz="1400" b="1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PA </a:t>
            </a:r>
            <a:r>
              <a:rPr lang="pt-BR" sz="1400" dirty="0">
                <a:solidFill>
                  <a:srgbClr val="ED8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 Automação Robótica de Processos (RPA) agiliza o processamento, reduzindo erros e liberando tempo para atividades mais estratégicas e valiosas</a:t>
            </a:r>
            <a:endParaRPr lang="en-US" sz="1400" dirty="0">
              <a:solidFill>
                <a:srgbClr val="ED8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C524CDFF-FB75-E702-2036-132EBDD6CF94}"/>
              </a:ext>
            </a:extLst>
          </p:cNvPr>
          <p:cNvSpPr/>
          <p:nvPr/>
        </p:nvSpPr>
        <p:spPr bwMode="gray">
          <a:xfrm>
            <a:off x="5123328" y="3100901"/>
            <a:ext cx="6325721" cy="995127"/>
          </a:xfrm>
          <a:prstGeom prst="roundRect">
            <a:avLst/>
          </a:prstGeom>
          <a:noFill/>
          <a:ln w="19050" algn="ctr">
            <a:solidFill>
              <a:srgbClr val="53565A"/>
            </a:solidFill>
            <a:miter lim="800000"/>
            <a:headEnd/>
            <a:tailEnd/>
          </a:ln>
        </p:spPr>
        <p:txBody>
          <a:bodyPr wrap="square" lIns="73152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PM </a:t>
            </a:r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Gestão de Processos de Negócio: foco no gerenciamento e aprimoramento dos processos empresariais visando aumentar eficiência, qualidade e adaptabilidade às mudanças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B62A3DCD-C30F-99DD-5BF3-BE2FCF6D31B6}"/>
              </a:ext>
            </a:extLst>
          </p:cNvPr>
          <p:cNvSpPr/>
          <p:nvPr/>
        </p:nvSpPr>
        <p:spPr bwMode="gray">
          <a:xfrm>
            <a:off x="5123328" y="1904689"/>
            <a:ext cx="6325721" cy="995127"/>
          </a:xfrm>
          <a:prstGeom prst="roundRect">
            <a:avLst/>
          </a:prstGeom>
          <a:noFill/>
          <a:ln w="19050" algn="ctr">
            <a:solidFill>
              <a:srgbClr val="041E42"/>
            </a:solidFill>
            <a:miter lim="800000"/>
            <a:headEnd/>
            <a:tailEnd/>
          </a:ln>
        </p:spPr>
        <p:txBody>
          <a:bodyPr wrap="square" lIns="73152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pt-BR" sz="1400" b="1" dirty="0">
                <a:solidFill>
                  <a:srgbClr val="041E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 </a:t>
            </a:r>
            <a:r>
              <a:rPr lang="pt-BR" sz="1400" dirty="0">
                <a:solidFill>
                  <a:srgbClr val="041E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 Aplicando aprendizado, raciocínio, resolução de problemas e identificação de padrões para aprimorar tarefas e guiar decisões.</a:t>
            </a:r>
            <a:endParaRPr lang="en-US" sz="1400" dirty="0">
              <a:solidFill>
                <a:srgbClr val="041E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Espaço Reservado para Texto 1">
            <a:extLst>
              <a:ext uri="{FF2B5EF4-FFF2-40B4-BE49-F238E27FC236}">
                <a16:creationId xmlns:a16="http://schemas.microsoft.com/office/drawing/2014/main" id="{6BCF1BBC-A758-C613-E644-888642196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041" y="1012459"/>
            <a:ext cx="10135334" cy="757255"/>
          </a:xfrm>
        </p:spPr>
        <p:txBody>
          <a:bodyPr/>
          <a:lstStyle/>
          <a:p>
            <a:r>
              <a:rPr lang="pt-BR" sz="1600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perautomação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é a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ergia entre diversas ferramentas e tecnologias 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, quando integradas de forma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mentar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têm o poder de aprimorar os processos automatizados e abrir novas oportunidades de automação,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ulsionando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ados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s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porações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C1329E3C-F0E5-54C1-3CE7-AEDB9A96B5AF}"/>
              </a:ext>
            </a:extLst>
          </p:cNvPr>
          <p:cNvSpPr/>
          <p:nvPr/>
        </p:nvSpPr>
        <p:spPr bwMode="gray">
          <a:xfrm>
            <a:off x="5123329" y="5558073"/>
            <a:ext cx="6325721" cy="995127"/>
          </a:xfrm>
          <a:prstGeom prst="roundRect">
            <a:avLst/>
          </a:prstGeom>
          <a:noFill/>
          <a:ln w="1905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731520" tIns="88900" rIns="88900" bIns="88900" rtlCol="0" anchor="ctr"/>
          <a:lstStyle/>
          <a:p>
            <a:pPr>
              <a:lnSpc>
                <a:spcPct val="106000"/>
              </a:lnSpc>
            </a:pPr>
            <a:endParaRPr lang="pt-BR" sz="1400" b="1" dirty="0">
              <a:solidFill>
                <a:srgbClr val="A7A8A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6000"/>
              </a:lnSpc>
            </a:pPr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ras Tecnologias – 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nologias como </a:t>
            </a:r>
            <a:r>
              <a:rPr lang="pt-BR" sz="1400" b="1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</a:t>
            </a:r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ining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CR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amento de Documentos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sempenham papéis essenciais na </a:t>
            </a:r>
            <a:r>
              <a:rPr lang="pt-BR" sz="1400" dirty="0" err="1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perautomação</a:t>
            </a: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impulsionando a eficiência, precisão e escalabilidade das operações empresariais.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400" dirty="0">
              <a:solidFill>
                <a:srgbClr val="A7A8A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A8256735-D1EF-F61D-F4D3-F8FD019E0919}"/>
              </a:ext>
            </a:extLst>
          </p:cNvPr>
          <p:cNvSpPr/>
          <p:nvPr/>
        </p:nvSpPr>
        <p:spPr bwMode="gray">
          <a:xfrm>
            <a:off x="1920536" y="2171389"/>
            <a:ext cx="1780636" cy="1780636"/>
          </a:xfrm>
          <a:prstGeom prst="ellipse">
            <a:avLst/>
          </a:prstGeom>
          <a:solidFill>
            <a:srgbClr val="041E42"/>
          </a:solidFill>
          <a:ln w="19050" algn="ctr">
            <a:noFill/>
            <a:miter lim="800000"/>
            <a:headEnd/>
            <a:tailEnd/>
          </a:ln>
        </p:spPr>
        <p:txBody>
          <a:bodyPr wrap="none" lIns="0" tIns="91440" rIns="0" bIns="36576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1359BFF2-32E2-9E4C-13EC-371532EE7383}"/>
              </a:ext>
            </a:extLst>
          </p:cNvPr>
          <p:cNvSpPr/>
          <p:nvPr/>
        </p:nvSpPr>
        <p:spPr bwMode="gray">
          <a:xfrm>
            <a:off x="926071" y="3183729"/>
            <a:ext cx="1780636" cy="1780636"/>
          </a:xfrm>
          <a:prstGeom prst="ellipse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365760" bIns="4572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PA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A8440AEA-1D27-8A99-13AE-DF92F6083EBA}"/>
              </a:ext>
            </a:extLst>
          </p:cNvPr>
          <p:cNvSpPr/>
          <p:nvPr/>
        </p:nvSpPr>
        <p:spPr bwMode="gray">
          <a:xfrm>
            <a:off x="1920536" y="4196069"/>
            <a:ext cx="1780636" cy="1780636"/>
          </a:xfrm>
          <a:prstGeom prst="ellipse">
            <a:avLst/>
          </a:prstGeom>
          <a:solidFill>
            <a:schemeClr val="bg2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none" lIns="88900" tIns="365760" rIns="9144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ras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nologias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2D0DC9E5-3C55-98C1-DBC1-E6B8EA59C793}"/>
              </a:ext>
            </a:extLst>
          </p:cNvPr>
          <p:cNvSpPr/>
          <p:nvPr/>
        </p:nvSpPr>
        <p:spPr bwMode="gray">
          <a:xfrm>
            <a:off x="2936466" y="3183729"/>
            <a:ext cx="1780636" cy="1780636"/>
          </a:xfrm>
          <a:prstGeom prst="ellipse">
            <a:avLst/>
          </a:prstGeom>
          <a:solidFill>
            <a:srgbClr val="53565A"/>
          </a:solidFill>
          <a:ln w="19050" algn="ctr">
            <a:noFill/>
            <a:miter lim="800000"/>
            <a:headEnd/>
            <a:tailEnd/>
          </a:ln>
        </p:spPr>
        <p:txBody>
          <a:bodyPr wrap="none" lIns="457200" tIns="91440" rIns="88900" bIns="9144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PM 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4C587B32-45D7-ECCF-7EA4-4390A1AAF696}"/>
              </a:ext>
            </a:extLst>
          </p:cNvPr>
          <p:cNvSpPr/>
          <p:nvPr/>
        </p:nvSpPr>
        <p:spPr bwMode="gray">
          <a:xfrm>
            <a:off x="2092855" y="3356049"/>
            <a:ext cx="1435997" cy="1435997"/>
          </a:xfrm>
          <a:prstGeom prst="ellipse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txBody>
          <a:bodyPr wrap="none" lIns="0" tIns="0" rIns="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lares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per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ção</a:t>
            </a:r>
            <a:endParaRPr lang="en-US" sz="1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Gráfico 22" descr="Mão de robô com preenchimento sólido">
            <a:extLst>
              <a:ext uri="{FF2B5EF4-FFF2-40B4-BE49-F238E27FC236}">
                <a16:creationId xmlns:a16="http://schemas.microsoft.com/office/drawing/2014/main" id="{2204B441-9BBD-683A-1B86-E280B23673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05214" y="3345039"/>
            <a:ext cx="622668" cy="592119"/>
          </a:xfrm>
          <a:prstGeom prst="rect">
            <a:avLst/>
          </a:prstGeom>
        </p:spPr>
      </p:pic>
      <p:pic>
        <p:nvPicPr>
          <p:cNvPr id="24" name="Gráfico 23" descr="Computação em Nuvem com preenchimento sólido">
            <a:extLst>
              <a:ext uri="{FF2B5EF4-FFF2-40B4-BE49-F238E27FC236}">
                <a16:creationId xmlns:a16="http://schemas.microsoft.com/office/drawing/2014/main" id="{EB6D224A-696F-ACE1-2396-B09F1611E3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08818" y="5800908"/>
            <a:ext cx="619063" cy="542360"/>
          </a:xfrm>
          <a:prstGeom prst="rect">
            <a:avLst/>
          </a:prstGeom>
        </p:spPr>
      </p:pic>
      <p:pic>
        <p:nvPicPr>
          <p:cNvPr id="25" name="Gráfico 24" descr="Blog com preenchimento sólido">
            <a:extLst>
              <a:ext uri="{FF2B5EF4-FFF2-40B4-BE49-F238E27FC236}">
                <a16:creationId xmlns:a16="http://schemas.microsoft.com/office/drawing/2014/main" id="{2DB6C645-E538-6B67-35E9-D7E1ABC1B9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42415" y="2093062"/>
            <a:ext cx="585466" cy="665134"/>
          </a:xfrm>
          <a:prstGeom prst="rect">
            <a:avLst/>
          </a:prstGeom>
        </p:spPr>
      </p:pic>
      <p:pic>
        <p:nvPicPr>
          <p:cNvPr id="26" name="Gráfico 25" descr="Robô com preenchimento sólido">
            <a:extLst>
              <a:ext uri="{FF2B5EF4-FFF2-40B4-BE49-F238E27FC236}">
                <a16:creationId xmlns:a16="http://schemas.microsoft.com/office/drawing/2014/main" id="{5AF5A76D-05E6-B420-473C-027DC7A30E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04278" y="4368767"/>
            <a:ext cx="846557" cy="846557"/>
          </a:xfrm>
          <a:prstGeom prst="rect">
            <a:avLst/>
          </a:prstGeom>
        </p:spPr>
      </p:pic>
      <p:sp>
        <p:nvSpPr>
          <p:cNvPr id="27" name="Título 4">
            <a:extLst>
              <a:ext uri="{FF2B5EF4-FFF2-40B4-BE49-F238E27FC236}">
                <a16:creationId xmlns:a16="http://schemas.microsoft.com/office/drawing/2014/main" id="{82321021-66C6-7484-86CA-72225CE8E2C6}"/>
              </a:ext>
            </a:extLst>
          </p:cNvPr>
          <p:cNvSpPr txBox="1">
            <a:spLocks/>
          </p:cNvSpPr>
          <p:nvPr/>
        </p:nvSpPr>
        <p:spPr bwMode="gray">
          <a:xfrm>
            <a:off x="1069848" y="402335"/>
            <a:ext cx="9371445" cy="4013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pt-BR" b="1" dirty="0"/>
              <a:t>O que é </a:t>
            </a:r>
            <a:r>
              <a:rPr lang="pt-BR" b="1" dirty="0" err="1"/>
              <a:t>Hiperautomação</a:t>
            </a:r>
            <a:r>
              <a:rPr lang="pt-BR" b="1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83191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C2C3C771-D008-4C33-A760-03865DFCD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A ampliação do leque de possibilidades e melhoria dos processos 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oferece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benefícios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significativos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ao aumentar a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eficiência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,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reduzir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erros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e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liberar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</a:t>
            </a:r>
            <a:r>
              <a:rPr lang="pt-BR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recursos</a:t>
            </a:r>
            <a:r>
              <a:rPr lang="pt-BR" b="0" i="0" dirty="0">
                <a:solidFill>
                  <a:srgbClr val="0D0D0D"/>
                </a:solidFill>
                <a:effectLst/>
                <a:highlight>
                  <a:srgbClr val="FFFFFF"/>
                </a:highlight>
                <a:ea typeface="Calibri" panose="020F0502020204030204" pitchFamily="34" charset="0"/>
              </a:rPr>
              <a:t> para tarefas mais estratégicas.</a:t>
            </a:r>
            <a:endParaRPr lang="pt-BR" dirty="0">
              <a:solidFill>
                <a:schemeClr val="tx1"/>
              </a:solidFill>
              <a:ea typeface="Calibri" panose="020F0502020204030204" pitchFamily="34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CAF8953-CDB4-456B-909E-CD897CD94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ê </a:t>
            </a:r>
            <a:r>
              <a:rPr lang="pt-BR" dirty="0" err="1"/>
              <a:t>Hiperautomação</a:t>
            </a:r>
            <a:r>
              <a:rPr lang="pt-BR" dirty="0"/>
              <a:t>?</a:t>
            </a:r>
            <a:endParaRPr lang="en-US" dirty="0"/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CAE04E47-632E-CE71-5B74-9258DD02754E}"/>
              </a:ext>
            </a:extLst>
          </p:cNvPr>
          <p:cNvCxnSpPr>
            <a:cxnSpLocks/>
          </p:cNvCxnSpPr>
          <p:nvPr/>
        </p:nvCxnSpPr>
        <p:spPr>
          <a:xfrm flipV="1">
            <a:off x="696180" y="1843480"/>
            <a:ext cx="0" cy="4378987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BFA7A9F0-6BBC-CEA4-9574-F5D46186BA85}"/>
              </a:ext>
            </a:extLst>
          </p:cNvPr>
          <p:cNvCxnSpPr>
            <a:cxnSpLocks/>
          </p:cNvCxnSpPr>
          <p:nvPr/>
        </p:nvCxnSpPr>
        <p:spPr>
          <a:xfrm>
            <a:off x="696180" y="6327871"/>
            <a:ext cx="10614035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394">
            <a:extLst>
              <a:ext uri="{FF2B5EF4-FFF2-40B4-BE49-F238E27FC236}">
                <a16:creationId xmlns:a16="http://schemas.microsoft.com/office/drawing/2014/main" id="{2E1B6CE4-AD9C-A07E-F52F-6E002BCA171C}"/>
              </a:ext>
            </a:extLst>
          </p:cNvPr>
          <p:cNvCxnSpPr/>
          <p:nvPr/>
        </p:nvCxnSpPr>
        <p:spPr bwMode="auto">
          <a:xfrm flipV="1">
            <a:off x="3944597" y="3734465"/>
            <a:ext cx="0" cy="72312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397">
            <a:extLst>
              <a:ext uri="{FF2B5EF4-FFF2-40B4-BE49-F238E27FC236}">
                <a16:creationId xmlns:a16="http://schemas.microsoft.com/office/drawing/2014/main" id="{DD1283D8-7F28-911E-017C-A14642C69E2D}"/>
              </a:ext>
            </a:extLst>
          </p:cNvPr>
          <p:cNvSpPr/>
          <p:nvPr/>
        </p:nvSpPr>
        <p:spPr>
          <a:xfrm>
            <a:off x="1787813" y="4457589"/>
            <a:ext cx="2133600" cy="4302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grated Desktop </a:t>
            </a:r>
          </a:p>
        </p:txBody>
      </p:sp>
      <p:sp>
        <p:nvSpPr>
          <p:cNvPr id="11" name="Rectangle 398">
            <a:extLst>
              <a:ext uri="{FF2B5EF4-FFF2-40B4-BE49-F238E27FC236}">
                <a16:creationId xmlns:a16="http://schemas.microsoft.com/office/drawing/2014/main" id="{B7C51F77-59DF-0A6C-8C69-FEE6BD36D94A}"/>
              </a:ext>
            </a:extLst>
          </p:cNvPr>
          <p:cNvSpPr/>
          <p:nvPr/>
        </p:nvSpPr>
        <p:spPr>
          <a:xfrm>
            <a:off x="3964710" y="3761759"/>
            <a:ext cx="2012515" cy="431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rocess Automation</a:t>
            </a:r>
          </a:p>
        </p:txBody>
      </p:sp>
      <p:sp>
        <p:nvSpPr>
          <p:cNvPr id="13" name="Rectangle 399">
            <a:extLst>
              <a:ext uri="{FF2B5EF4-FFF2-40B4-BE49-F238E27FC236}">
                <a16:creationId xmlns:a16="http://schemas.microsoft.com/office/drawing/2014/main" id="{47723EC5-9861-6D6A-E4A6-B1B4FB07C802}"/>
              </a:ext>
            </a:extLst>
          </p:cNvPr>
          <p:cNvSpPr/>
          <p:nvPr/>
        </p:nvSpPr>
        <p:spPr>
          <a:xfrm>
            <a:off x="5997862" y="3009700"/>
            <a:ext cx="2216150" cy="431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gital / Virtual Assistance</a:t>
            </a:r>
          </a:p>
        </p:txBody>
      </p:sp>
      <p:sp>
        <p:nvSpPr>
          <p:cNvPr id="14" name="Rectangle 400">
            <a:extLst>
              <a:ext uri="{FF2B5EF4-FFF2-40B4-BE49-F238E27FC236}">
                <a16:creationId xmlns:a16="http://schemas.microsoft.com/office/drawing/2014/main" id="{90492028-DDFD-884A-AA17-78D2BFBA625C}"/>
              </a:ext>
            </a:extLst>
          </p:cNvPr>
          <p:cNvSpPr/>
          <p:nvPr/>
        </p:nvSpPr>
        <p:spPr>
          <a:xfrm>
            <a:off x="8245762" y="2114350"/>
            <a:ext cx="2089150" cy="431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gnitive Computing 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utonomic Solutions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A3C40D68-8F61-7D7F-26C4-4164645D3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1412" y="4201203"/>
            <a:ext cx="2076450" cy="878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 defTabSz="914400">
              <a:defRPr/>
            </a:pPr>
            <a:r>
              <a:rPr lang="pt-BR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licação de tecnologia para manipular o software / aplicativo existente para concluir um processo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1B96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B224412A-3AAE-06BA-67F9-7CE70B9E8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3212" y="4897326"/>
            <a:ext cx="208915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0" defTabSz="914400">
              <a:defRPr/>
            </a:pPr>
            <a:r>
              <a:rPr lang="pt-BR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olidar dados de várias fontes em uma única visualização para concluir um process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5916FEF2-345F-7CBB-BA7C-82E6E5B523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8500" y="3458963"/>
            <a:ext cx="2206625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0" defTabSz="914400">
              <a:defRPr/>
            </a:pPr>
            <a:r>
              <a:rPr lang="pt-BR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onagem gerado por computador que simula uma conversa para responder perguntas ou consultas e fornecer orientação - análise preditiva, motores de decisão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8" name="Straight Connector 404">
            <a:extLst>
              <a:ext uri="{FF2B5EF4-FFF2-40B4-BE49-F238E27FC236}">
                <a16:creationId xmlns:a16="http://schemas.microsoft.com/office/drawing/2014/main" id="{7ECD4A57-8083-3517-A373-4F0FE76AFF71}"/>
              </a:ext>
            </a:extLst>
          </p:cNvPr>
          <p:cNvCxnSpPr/>
          <p:nvPr/>
        </p:nvCxnSpPr>
        <p:spPr bwMode="auto">
          <a:xfrm flipV="1">
            <a:off x="1771937" y="4438540"/>
            <a:ext cx="0" cy="184771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405">
            <a:extLst>
              <a:ext uri="{FF2B5EF4-FFF2-40B4-BE49-F238E27FC236}">
                <a16:creationId xmlns:a16="http://schemas.microsoft.com/office/drawing/2014/main" id="{D0B1FDCA-C64D-C621-F3DD-543E9F6C4598}"/>
              </a:ext>
            </a:extLst>
          </p:cNvPr>
          <p:cNvCxnSpPr/>
          <p:nvPr/>
        </p:nvCxnSpPr>
        <p:spPr bwMode="auto">
          <a:xfrm flipV="1">
            <a:off x="5977224" y="2990651"/>
            <a:ext cx="0" cy="77110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406">
            <a:extLst>
              <a:ext uri="{FF2B5EF4-FFF2-40B4-BE49-F238E27FC236}">
                <a16:creationId xmlns:a16="http://schemas.microsoft.com/office/drawing/2014/main" id="{7C0412F2-DDBA-D039-C8B6-26AD7137EC21}"/>
              </a:ext>
            </a:extLst>
          </p:cNvPr>
          <p:cNvCxnSpPr/>
          <p:nvPr/>
        </p:nvCxnSpPr>
        <p:spPr bwMode="auto">
          <a:xfrm>
            <a:off x="5977224" y="2990650"/>
            <a:ext cx="226853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407">
            <a:extLst>
              <a:ext uri="{FF2B5EF4-FFF2-40B4-BE49-F238E27FC236}">
                <a16:creationId xmlns:a16="http://schemas.microsoft.com/office/drawing/2014/main" id="{0ADBCC4C-032A-0D3F-87CC-341594BDCDC6}"/>
              </a:ext>
            </a:extLst>
          </p:cNvPr>
          <p:cNvCxnSpPr/>
          <p:nvPr/>
        </p:nvCxnSpPr>
        <p:spPr bwMode="auto">
          <a:xfrm flipV="1">
            <a:off x="8225124" y="2103238"/>
            <a:ext cx="0" cy="88741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Arrow Connector 415">
            <a:extLst>
              <a:ext uri="{FF2B5EF4-FFF2-40B4-BE49-F238E27FC236}">
                <a16:creationId xmlns:a16="http://schemas.microsoft.com/office/drawing/2014/main" id="{ACECA322-E114-D55B-94DC-5F287CF03A18}"/>
              </a:ext>
            </a:extLst>
          </p:cNvPr>
          <p:cNvCxnSpPr>
            <a:cxnSpLocks/>
          </p:cNvCxnSpPr>
          <p:nvPr/>
        </p:nvCxnSpPr>
        <p:spPr>
          <a:xfrm flipV="1">
            <a:off x="2110762" y="2933500"/>
            <a:ext cx="3513028" cy="119150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14">
            <a:extLst>
              <a:ext uri="{FF2B5EF4-FFF2-40B4-BE49-F238E27FC236}">
                <a16:creationId xmlns:a16="http://schemas.microsoft.com/office/drawing/2014/main" id="{B5CCA419-F16A-3F41-3BAE-1A8535401D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8938" y="2557263"/>
            <a:ext cx="2079625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0" defTabSz="914400">
              <a:defRPr/>
            </a:pPr>
            <a:r>
              <a:rPr lang="pt-BR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s que adquirem conhecimento dos dados como "experiência" e generalizam o que é aprendido nas próximas situações – análise dedutiva, processamento cognitivo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4" name="Straight Connector 418">
            <a:extLst>
              <a:ext uri="{FF2B5EF4-FFF2-40B4-BE49-F238E27FC236}">
                <a16:creationId xmlns:a16="http://schemas.microsoft.com/office/drawing/2014/main" id="{FDAF9DA7-8EA9-8F47-80B2-63CB0F1DD2BD}"/>
              </a:ext>
            </a:extLst>
          </p:cNvPr>
          <p:cNvCxnSpPr/>
          <p:nvPr/>
        </p:nvCxnSpPr>
        <p:spPr bwMode="auto">
          <a:xfrm flipH="1">
            <a:off x="10287757" y="2114350"/>
            <a:ext cx="47156" cy="417190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8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424">
            <a:extLst>
              <a:ext uri="{FF2B5EF4-FFF2-40B4-BE49-F238E27FC236}">
                <a16:creationId xmlns:a16="http://schemas.microsoft.com/office/drawing/2014/main" id="{7FACB4ED-32B7-6BF0-E08E-57DF423FA9B2}"/>
              </a:ext>
            </a:extLst>
          </p:cNvPr>
          <p:cNvCxnSpPr/>
          <p:nvPr/>
        </p:nvCxnSpPr>
        <p:spPr bwMode="auto">
          <a:xfrm>
            <a:off x="3945884" y="3740629"/>
            <a:ext cx="2051979" cy="476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425">
            <a:extLst>
              <a:ext uri="{FF2B5EF4-FFF2-40B4-BE49-F238E27FC236}">
                <a16:creationId xmlns:a16="http://schemas.microsoft.com/office/drawing/2014/main" id="{FDD1FBAF-CB2A-5A28-DC92-23FDAF3F2DA4}"/>
              </a:ext>
            </a:extLst>
          </p:cNvPr>
          <p:cNvCxnSpPr/>
          <p:nvPr/>
        </p:nvCxnSpPr>
        <p:spPr bwMode="auto">
          <a:xfrm flipV="1">
            <a:off x="1787813" y="4438539"/>
            <a:ext cx="215807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426">
            <a:extLst>
              <a:ext uri="{FF2B5EF4-FFF2-40B4-BE49-F238E27FC236}">
                <a16:creationId xmlns:a16="http://schemas.microsoft.com/office/drawing/2014/main" id="{7F21762A-0C59-64E2-3EAA-937FA5A72D45}"/>
              </a:ext>
            </a:extLst>
          </p:cNvPr>
          <p:cNvCxnSpPr/>
          <p:nvPr/>
        </p:nvCxnSpPr>
        <p:spPr bwMode="auto">
          <a:xfrm flipV="1">
            <a:off x="8214013" y="2103237"/>
            <a:ext cx="2120901" cy="915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FE900F3A-61B6-E16E-E590-6837F81A7796}"/>
              </a:ext>
            </a:extLst>
          </p:cNvPr>
          <p:cNvSpPr txBox="1"/>
          <p:nvPr/>
        </p:nvSpPr>
        <p:spPr>
          <a:xfrm>
            <a:off x="856104" y="1844194"/>
            <a:ext cx="280945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2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dade</a:t>
            </a:r>
          </a:p>
          <a:p>
            <a:pPr>
              <a:spcBef>
                <a:spcPts val="600"/>
              </a:spcBef>
              <a:buSzPct val="100000"/>
            </a:pPr>
            <a:r>
              <a:rPr lang="pt-BR" sz="12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nhos</a:t>
            </a:r>
          </a:p>
          <a:p>
            <a:pPr>
              <a:spcBef>
                <a:spcPts val="600"/>
              </a:spcBef>
              <a:buSzPct val="100000"/>
            </a:pPr>
            <a:r>
              <a:rPr lang="pt-BR" sz="12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ilidade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A86A1281-2BE1-6B6F-1EB4-D751F16ECA53}"/>
              </a:ext>
            </a:extLst>
          </p:cNvPr>
          <p:cNvSpPr txBox="1"/>
          <p:nvPr/>
        </p:nvSpPr>
        <p:spPr>
          <a:xfrm>
            <a:off x="728523" y="6397669"/>
            <a:ext cx="75448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2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39F4FACF-E2A7-406F-74CA-2A7BE0CDD9DD}"/>
              </a:ext>
            </a:extLst>
          </p:cNvPr>
          <p:cNvSpPr txBox="1"/>
          <p:nvPr/>
        </p:nvSpPr>
        <p:spPr>
          <a:xfrm>
            <a:off x="10414296" y="6397669"/>
            <a:ext cx="10301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200" b="1" dirty="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ectual</a:t>
            </a:r>
          </a:p>
        </p:txBody>
      </p:sp>
      <p:cxnSp>
        <p:nvCxnSpPr>
          <p:cNvPr id="31" name="Straight Arrow Connector 415">
            <a:extLst>
              <a:ext uri="{FF2B5EF4-FFF2-40B4-BE49-F238E27FC236}">
                <a16:creationId xmlns:a16="http://schemas.microsoft.com/office/drawing/2014/main" id="{AEE31EC8-2B48-4EE6-EC2A-DD3FD466407A}"/>
              </a:ext>
            </a:extLst>
          </p:cNvPr>
          <p:cNvCxnSpPr>
            <a:cxnSpLocks/>
          </p:cNvCxnSpPr>
          <p:nvPr/>
        </p:nvCxnSpPr>
        <p:spPr>
          <a:xfrm flipV="1">
            <a:off x="6126795" y="1543790"/>
            <a:ext cx="3513028" cy="119150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7C9D862D-0D11-0802-57EE-F254475B6ECD}"/>
              </a:ext>
            </a:extLst>
          </p:cNvPr>
          <p:cNvSpPr txBox="1"/>
          <p:nvPr/>
        </p:nvSpPr>
        <p:spPr>
          <a:xfrm rot="20459388">
            <a:off x="7208388" y="1869907"/>
            <a:ext cx="1353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20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o dados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90F8B515-4EFC-74B3-4FB9-A74D162EA0D7}"/>
              </a:ext>
            </a:extLst>
          </p:cNvPr>
          <p:cNvSpPr txBox="1"/>
          <p:nvPr/>
        </p:nvSpPr>
        <p:spPr>
          <a:xfrm rot="20459388">
            <a:off x="3250831" y="3241099"/>
            <a:ext cx="13537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pt-BR" sz="1200">
                <a:solidFill>
                  <a:srgbClr val="3131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o processos</a:t>
            </a:r>
          </a:p>
        </p:txBody>
      </p:sp>
    </p:spTree>
    <p:extLst>
      <p:ext uri="{BB962C8B-B14F-4D97-AF65-F5344CB8AC3E}">
        <p14:creationId xmlns:p14="http://schemas.microsoft.com/office/powerpoint/2010/main" val="6285152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C2C3C771-D008-4C33-A760-03865DFCD3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Na </a:t>
            </a:r>
            <a:r>
              <a:rPr lang="pt-BR" dirty="0" err="1">
                <a:solidFill>
                  <a:schemeClr val="tx1"/>
                </a:solidFill>
                <a:ea typeface="Calibri" panose="020F0502020204030204" pitchFamily="34" charset="0"/>
              </a:rPr>
              <a:t>hiperautomação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, a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integração harmoniosa 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de diversas tecnologias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potencializa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 a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eficiência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 operacional e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impulsiona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 a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transformação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 </a:t>
            </a:r>
            <a:r>
              <a:rPr lang="pt-BR" b="1" dirty="0">
                <a:solidFill>
                  <a:schemeClr val="tx1"/>
                </a:solidFill>
                <a:ea typeface="Calibri" panose="020F0502020204030204" pitchFamily="34" charset="0"/>
              </a:rPr>
              <a:t>digital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 das empresas.</a:t>
            </a:r>
          </a:p>
          <a:p>
            <a:endParaRPr lang="pt-BR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endParaRPr lang="pt-BR" dirty="0">
              <a:solidFill>
                <a:schemeClr val="tx1"/>
              </a:solidFill>
              <a:ea typeface="Calibri" panose="020F0502020204030204" pitchFamily="34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CAF8953-CDB4-456B-909E-CD897CD94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binações de Tecnologias</a:t>
            </a:r>
            <a:endParaRPr lang="en-US" dirty="0"/>
          </a:p>
        </p:txBody>
      </p:sp>
      <p:sp>
        <p:nvSpPr>
          <p:cNvPr id="2" name="Retângulo: Cantos Arredondados 1">
            <a:hlinkClick r:id="rId2" action="ppaction://hlinksldjump"/>
            <a:extLst>
              <a:ext uri="{FF2B5EF4-FFF2-40B4-BE49-F238E27FC236}">
                <a16:creationId xmlns:a16="http://schemas.microsoft.com/office/drawing/2014/main" id="{D0CD0A2C-126B-FC32-192C-A129B20EC256}"/>
              </a:ext>
            </a:extLst>
          </p:cNvPr>
          <p:cNvSpPr/>
          <p:nvPr/>
        </p:nvSpPr>
        <p:spPr bwMode="gray">
          <a:xfrm>
            <a:off x="4345942" y="1734322"/>
            <a:ext cx="3242448" cy="4693120"/>
          </a:xfrm>
          <a:prstGeom prst="roundRect">
            <a:avLst>
              <a:gd name="adj" fmla="val 7218"/>
            </a:avLst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0" tIns="1692000" rIns="0" bIns="88900" rtlCol="0" anchor="t" anchorCtr="0"/>
          <a:lstStyle/>
          <a:p>
            <a:pPr marL="180975" indent="-180975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pt-BR" sz="1300" baseline="30000"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4BFC25A8-F8D3-6FCA-5802-7453CCDC6F37}"/>
              </a:ext>
            </a:extLst>
          </p:cNvPr>
          <p:cNvSpPr/>
          <p:nvPr/>
        </p:nvSpPr>
        <p:spPr bwMode="gray">
          <a:xfrm>
            <a:off x="739715" y="1734322"/>
            <a:ext cx="3242448" cy="4700793"/>
          </a:xfrm>
          <a:prstGeom prst="roundRect">
            <a:avLst>
              <a:gd name="adj" fmla="val 7218"/>
            </a:avLst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0" tIns="1692000" rIns="0" bIns="88900" rtlCol="0" anchor="t" anchorCtr="0"/>
          <a:lstStyle/>
          <a:p>
            <a:pPr>
              <a:lnSpc>
                <a:spcPct val="106000"/>
              </a:lnSpc>
            </a:pPr>
            <a:endParaRPr lang="pt-BR" sz="1300" baseline="30000"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038641D-067B-412B-E41D-19466CD7A85D}"/>
              </a:ext>
            </a:extLst>
          </p:cNvPr>
          <p:cNvSpPr/>
          <p:nvPr/>
        </p:nvSpPr>
        <p:spPr bwMode="gray">
          <a:xfrm>
            <a:off x="739716" y="1734324"/>
            <a:ext cx="3242448" cy="87630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solidFill>
                  <a:schemeClr val="bg1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 RPA           + BPM</a:t>
            </a:r>
            <a:endParaRPr lang="en-US" sz="1800" b="1" dirty="0">
              <a:solidFill>
                <a:schemeClr val="bg1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95E57CF7-F645-0FA2-20CA-002A35C46215}"/>
              </a:ext>
            </a:extLst>
          </p:cNvPr>
          <p:cNvSpPr/>
          <p:nvPr/>
        </p:nvSpPr>
        <p:spPr bwMode="gray">
          <a:xfrm>
            <a:off x="7889717" y="1734322"/>
            <a:ext cx="3242448" cy="4693120"/>
          </a:xfrm>
          <a:prstGeom prst="roundRect">
            <a:avLst>
              <a:gd name="adj" fmla="val 7218"/>
            </a:avLst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0" tIns="1692000" rIns="72000" bIns="88900" rtlCol="0" anchor="t" anchorCtr="0"/>
          <a:lstStyle/>
          <a:p>
            <a:pPr>
              <a:lnSpc>
                <a:spcPct val="106000"/>
              </a:lnSpc>
            </a:pPr>
            <a:endParaRPr lang="pt-BR" sz="1400"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68CCC62-9F89-278D-E11D-0A05BE8F879D}"/>
              </a:ext>
            </a:extLst>
          </p:cNvPr>
          <p:cNvSpPr/>
          <p:nvPr/>
        </p:nvSpPr>
        <p:spPr bwMode="gray">
          <a:xfrm>
            <a:off x="7889718" y="1734324"/>
            <a:ext cx="3242448" cy="876301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solidFill>
                  <a:schemeClr val="bg1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 BPM           +  IA </a:t>
            </a:r>
            <a:endParaRPr lang="en-US" sz="1800" b="1" dirty="0">
              <a:solidFill>
                <a:schemeClr val="bg1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9" name="Retângulo 8">
            <a:hlinkClick r:id="rId2" action="ppaction://hlinksldjump"/>
            <a:extLst>
              <a:ext uri="{FF2B5EF4-FFF2-40B4-BE49-F238E27FC236}">
                <a16:creationId xmlns:a16="http://schemas.microsoft.com/office/drawing/2014/main" id="{B47B0835-9ACD-3C2A-9EAC-E6EDE13AD37D}"/>
              </a:ext>
            </a:extLst>
          </p:cNvPr>
          <p:cNvSpPr/>
          <p:nvPr/>
        </p:nvSpPr>
        <p:spPr bwMode="gray">
          <a:xfrm>
            <a:off x="4345943" y="1734324"/>
            <a:ext cx="3242448" cy="876301"/>
          </a:xfrm>
          <a:prstGeom prst="rect">
            <a:avLst/>
          </a:prstGeom>
          <a:solidFill>
            <a:srgbClr val="FFC000"/>
          </a:solidFill>
          <a:ln w="19050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pt-BR" sz="1800" b="1" dirty="0">
                <a:latin typeface="Rubik Light" panose="00000400000000000000" pitchFamily="2" charset="-79"/>
                <a:cs typeface="Rubik Light" panose="00000400000000000000" pitchFamily="2" charset="-79"/>
              </a:rPr>
              <a:t> RPA           + IA</a:t>
            </a:r>
            <a:endParaRPr lang="en-US" sz="1800" b="1" dirty="0"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67DC4BFE-2682-FC8C-9F30-347B42A6AED9}"/>
              </a:ext>
            </a:extLst>
          </p:cNvPr>
          <p:cNvSpPr txBox="1"/>
          <p:nvPr/>
        </p:nvSpPr>
        <p:spPr>
          <a:xfrm>
            <a:off x="802165" y="2699619"/>
            <a:ext cx="3242448" cy="4158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mite uma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ção mais abrangente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icaz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os processos empresariais, combinando a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ção automatizada de tarefas 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 o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trole e monitoramento sistemático dos fluxos de trabalho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iciência operacion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imização de processo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dução de erros e retrabalh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lhor experiência do usuári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sibilidade e contro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6000"/>
              </a:lnSpc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167C791-68A1-3070-AC98-D06D278C6A1D}"/>
              </a:ext>
            </a:extLst>
          </p:cNvPr>
          <p:cNvSpPr txBox="1"/>
          <p:nvPr/>
        </p:nvSpPr>
        <p:spPr>
          <a:xfrm>
            <a:off x="4377166" y="2700310"/>
            <a:ext cx="3242449" cy="3754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integração de RPA e IA possibilita a automação avançada, combinando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iciência operacional 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mada de decisões inteligentes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m tempo real.</a:t>
            </a:r>
          </a:p>
          <a:p>
            <a:pPr>
              <a:lnSpc>
                <a:spcPct val="106000"/>
              </a:lnSpc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tização de tarefas mais avançada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mada de decisão aprimorad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tecção de exceçõ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ights e análises avançada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5B41AEB-20D3-819A-091E-F906A543E73A}"/>
              </a:ext>
            </a:extLst>
          </p:cNvPr>
          <p:cNvSpPr txBox="1"/>
          <p:nvPr/>
        </p:nvSpPr>
        <p:spPr>
          <a:xfrm>
            <a:off x="7952168" y="2700310"/>
            <a:ext cx="3242448" cy="39072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integração de IA e BPM </a:t>
            </a:r>
            <a:r>
              <a:rPr lang="pt-BR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tencializa a automação inteligente</a:t>
            </a: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otimizando processos empresariais e impulsionando a inovação.</a:t>
            </a:r>
          </a:p>
          <a:p>
            <a:pPr>
              <a:lnSpc>
                <a:spcPct val="106000"/>
              </a:lnSpc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mada de decisão inteligent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sonalização e adaptaçã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imização contínu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tecção e prevenção de problema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r>
              <a:rPr lang="pt-BR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álises avançadas</a:t>
            </a:r>
          </a:p>
          <a:p>
            <a:pPr marL="285750" indent="-285750">
              <a:lnSpc>
                <a:spcPct val="106000"/>
              </a:lnSpc>
              <a:buFont typeface="Arial" panose="020B0604020202020204" pitchFamily="34" charset="0"/>
              <a:buChar char="•"/>
            </a:pPr>
            <a:endParaRPr lang="pt-BR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Gráfico 15" descr="Cérebro na cabeça estrutura de tópicos">
            <a:extLst>
              <a:ext uri="{FF2B5EF4-FFF2-40B4-BE49-F238E27FC236}">
                <a16:creationId xmlns:a16="http://schemas.microsoft.com/office/drawing/2014/main" id="{214B55CA-6FB5-5C70-E27A-08A01AE8C0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9" y="1859399"/>
            <a:ext cx="585865" cy="585865"/>
          </a:xfrm>
          <a:prstGeom prst="rect">
            <a:avLst/>
          </a:prstGeom>
        </p:spPr>
      </p:pic>
      <p:pic>
        <p:nvPicPr>
          <p:cNvPr id="17" name="Gráfico 16" descr="Cérebro na cabeça estrutura de tópicos">
            <a:extLst>
              <a:ext uri="{FF2B5EF4-FFF2-40B4-BE49-F238E27FC236}">
                <a16:creationId xmlns:a16="http://schemas.microsoft.com/office/drawing/2014/main" id="{FC446B8E-73B4-2E9C-EA89-F398C4F3CE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23527" y="1859399"/>
            <a:ext cx="585865" cy="585865"/>
          </a:xfrm>
          <a:prstGeom prst="rect">
            <a:avLst/>
          </a:prstGeom>
        </p:spPr>
      </p:pic>
      <p:pic>
        <p:nvPicPr>
          <p:cNvPr id="19" name="Gráfico 18" descr="Mão de robô com preenchimento sólido">
            <a:extLst>
              <a:ext uri="{FF2B5EF4-FFF2-40B4-BE49-F238E27FC236}">
                <a16:creationId xmlns:a16="http://schemas.microsoft.com/office/drawing/2014/main" id="{27DE54F9-DC2C-8B3B-3BC4-2FFE740C0F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95759" y="1858708"/>
            <a:ext cx="591671" cy="591671"/>
          </a:xfrm>
          <a:prstGeom prst="rect">
            <a:avLst/>
          </a:prstGeom>
        </p:spPr>
      </p:pic>
      <p:pic>
        <p:nvPicPr>
          <p:cNvPr id="20" name="Gráfico 19" descr="Mão de robô com preenchimento sólido">
            <a:extLst>
              <a:ext uri="{FF2B5EF4-FFF2-40B4-BE49-F238E27FC236}">
                <a16:creationId xmlns:a16="http://schemas.microsoft.com/office/drawing/2014/main" id="{C7C92C66-0C8B-F87C-451E-1D747E2E93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11323" y="1858708"/>
            <a:ext cx="591671" cy="591671"/>
          </a:xfrm>
          <a:prstGeom prst="rect">
            <a:avLst/>
          </a:prstGeom>
        </p:spPr>
      </p:pic>
      <p:pic>
        <p:nvPicPr>
          <p:cNvPr id="21" name="Gráfico 20" descr="Ciclo com pessoas com preenchimento sólido">
            <a:extLst>
              <a:ext uri="{FF2B5EF4-FFF2-40B4-BE49-F238E27FC236}">
                <a16:creationId xmlns:a16="http://schemas.microsoft.com/office/drawing/2014/main" id="{61D60113-6162-5D11-BAF0-3879CA0390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79464" y="1795143"/>
            <a:ext cx="714375" cy="714375"/>
          </a:xfrm>
          <a:prstGeom prst="rect">
            <a:avLst/>
          </a:prstGeom>
        </p:spPr>
      </p:pic>
      <p:pic>
        <p:nvPicPr>
          <p:cNvPr id="22" name="Gráfico 21" descr="Ciclo com pessoas com preenchimento sólido">
            <a:extLst>
              <a:ext uri="{FF2B5EF4-FFF2-40B4-BE49-F238E27FC236}">
                <a16:creationId xmlns:a16="http://schemas.microsoft.com/office/drawing/2014/main" id="{B4D26CED-1777-B6C9-522D-EED857FBAB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25841" y="1815286"/>
            <a:ext cx="714375" cy="7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41223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: Forma 44">
            <a:extLst>
              <a:ext uri="{FF2B5EF4-FFF2-40B4-BE49-F238E27FC236}">
                <a16:creationId xmlns:a16="http://schemas.microsoft.com/office/drawing/2014/main" id="{DC268514-2410-1D62-532C-031408838129}"/>
              </a:ext>
            </a:extLst>
          </p:cNvPr>
          <p:cNvSpPr/>
          <p:nvPr/>
        </p:nvSpPr>
        <p:spPr>
          <a:xfrm rot="17708628">
            <a:off x="5024876" y="-2353924"/>
            <a:ext cx="1971467" cy="13345119"/>
          </a:xfrm>
          <a:custGeom>
            <a:avLst/>
            <a:gdLst>
              <a:gd name="connsiteX0" fmla="*/ 1064173 w 1967688"/>
              <a:gd name="connsiteY0" fmla="*/ 0 h 13340667"/>
              <a:gd name="connsiteX1" fmla="*/ 1967688 w 1967688"/>
              <a:gd name="connsiteY1" fmla="*/ 13031544 h 13340667"/>
              <a:gd name="connsiteX2" fmla="*/ 1309091 w 1967688"/>
              <a:gd name="connsiteY2" fmla="*/ 13340667 h 13340667"/>
              <a:gd name="connsiteX3" fmla="*/ 0 w 1967688"/>
              <a:gd name="connsiteY3" fmla="*/ 10551609 h 13340667"/>
              <a:gd name="connsiteX4" fmla="*/ 720388 w 1967688"/>
              <a:gd name="connsiteY4" fmla="*/ 161361 h 13340667"/>
              <a:gd name="connsiteX5" fmla="*/ 1064173 w 1967688"/>
              <a:gd name="connsiteY5" fmla="*/ 0 h 1334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67688" h="13340667">
                <a:moveTo>
                  <a:pt x="1064173" y="0"/>
                </a:moveTo>
                <a:lnTo>
                  <a:pt x="1967688" y="13031544"/>
                </a:lnTo>
                <a:lnTo>
                  <a:pt x="1309091" y="13340667"/>
                </a:lnTo>
                <a:lnTo>
                  <a:pt x="0" y="10551609"/>
                </a:lnTo>
                <a:lnTo>
                  <a:pt x="720388" y="161361"/>
                </a:lnTo>
                <a:lnTo>
                  <a:pt x="1064173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BB8DF8-E989-C0D1-103E-E543DBDB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o aplicar a </a:t>
            </a:r>
            <a:r>
              <a:rPr lang="pt-BR" dirty="0" err="1"/>
              <a:t>hiperautomação</a:t>
            </a:r>
            <a:r>
              <a:rPr lang="pt-BR" dirty="0"/>
              <a:t>?</a:t>
            </a:r>
            <a:endParaRPr lang="en-US" dirty="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57CB1CF4-C92C-2C69-500A-7C73F3612AF8}"/>
              </a:ext>
            </a:extLst>
          </p:cNvPr>
          <p:cNvSpPr/>
          <p:nvPr/>
        </p:nvSpPr>
        <p:spPr>
          <a:xfrm>
            <a:off x="1905445" y="2641899"/>
            <a:ext cx="1506508" cy="3201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2801F5AF-59A8-F40F-59B8-9144D343F0C6}"/>
              </a:ext>
            </a:extLst>
          </p:cNvPr>
          <p:cNvSpPr/>
          <p:nvPr/>
        </p:nvSpPr>
        <p:spPr>
          <a:xfrm>
            <a:off x="8058836" y="5549180"/>
            <a:ext cx="2933819" cy="8798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4C2CA875-F103-7CD5-8622-6616943E9A73}"/>
              </a:ext>
            </a:extLst>
          </p:cNvPr>
          <p:cNvSpPr txBox="1"/>
          <p:nvPr/>
        </p:nvSpPr>
        <p:spPr>
          <a:xfrm>
            <a:off x="2329678" y="5418465"/>
            <a:ext cx="2994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FFC000"/>
                </a:solidFill>
                <a:latin typeface="Impact" panose="020B0806030902050204" pitchFamily="34" charset="0"/>
              </a:rPr>
              <a:t>3</a:t>
            </a:r>
            <a:r>
              <a:rPr lang="pt-BR" sz="2400" dirty="0">
                <a:solidFill>
                  <a:srgbClr val="FFC000"/>
                </a:solidFill>
                <a:latin typeface="Impact" panose="020B0806030902050204" pitchFamily="34" charset="0"/>
              </a:rPr>
              <a:t>. </a:t>
            </a:r>
            <a:r>
              <a:rPr lang="pt-BR" sz="2400" dirty="0" err="1">
                <a:solidFill>
                  <a:srgbClr val="FFC000"/>
                </a:solidFill>
                <a:latin typeface="Impact" panose="020B0806030902050204" pitchFamily="34" charset="0"/>
              </a:rPr>
              <a:t>Run</a:t>
            </a:r>
            <a:endParaRPr lang="pt-BR" sz="2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pic>
        <p:nvPicPr>
          <p:cNvPr id="18" name="Gráfico 17" descr="Programa">
            <a:extLst>
              <a:ext uri="{FF2B5EF4-FFF2-40B4-BE49-F238E27FC236}">
                <a16:creationId xmlns:a16="http://schemas.microsoft.com/office/drawing/2014/main" id="{56039EA4-1E55-A9AB-F267-E0AFD297A0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4903" y="5386985"/>
            <a:ext cx="687003" cy="687003"/>
          </a:xfrm>
          <a:prstGeom prst="rect">
            <a:avLst/>
          </a:prstGeom>
        </p:spPr>
      </p:pic>
      <p:pic>
        <p:nvPicPr>
          <p:cNvPr id="19" name="Gráfico 18" descr="Reunião">
            <a:extLst>
              <a:ext uri="{FF2B5EF4-FFF2-40B4-BE49-F238E27FC236}">
                <a16:creationId xmlns:a16="http://schemas.microsoft.com/office/drawing/2014/main" id="{9C31F897-921A-07ED-9730-1BC25AD431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2055" y="2029431"/>
            <a:ext cx="772548" cy="772548"/>
          </a:xfrm>
          <a:prstGeom prst="rect">
            <a:avLst/>
          </a:prstGeom>
        </p:spPr>
      </p:pic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F7D86CB6-F696-F2C8-31EF-D8D51860799A}"/>
              </a:ext>
            </a:extLst>
          </p:cNvPr>
          <p:cNvCxnSpPr>
            <a:cxnSpLocks/>
          </p:cNvCxnSpPr>
          <p:nvPr/>
        </p:nvCxnSpPr>
        <p:spPr>
          <a:xfrm>
            <a:off x="314707" y="2834779"/>
            <a:ext cx="0" cy="679803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FBA8039F-2A04-DA91-568B-07DFA8DF5D0A}"/>
              </a:ext>
            </a:extLst>
          </p:cNvPr>
          <p:cNvCxnSpPr>
            <a:cxnSpLocks/>
          </p:cNvCxnSpPr>
          <p:nvPr/>
        </p:nvCxnSpPr>
        <p:spPr>
          <a:xfrm>
            <a:off x="302017" y="2834779"/>
            <a:ext cx="2436891" cy="3099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FF54B36B-8AE8-1794-4566-9E62F225A0C5}"/>
              </a:ext>
            </a:extLst>
          </p:cNvPr>
          <p:cNvCxnSpPr>
            <a:cxnSpLocks/>
          </p:cNvCxnSpPr>
          <p:nvPr/>
        </p:nvCxnSpPr>
        <p:spPr>
          <a:xfrm flipV="1">
            <a:off x="8407113" y="5967989"/>
            <a:ext cx="1005828" cy="326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3B441DF4-C21A-E34A-58B4-36D2FBAFF5A5}"/>
              </a:ext>
            </a:extLst>
          </p:cNvPr>
          <p:cNvCxnSpPr>
            <a:cxnSpLocks/>
          </p:cNvCxnSpPr>
          <p:nvPr/>
        </p:nvCxnSpPr>
        <p:spPr>
          <a:xfrm>
            <a:off x="8407113" y="5989127"/>
            <a:ext cx="0" cy="574075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60EE261-51D0-1475-5AC2-84D4FC03D2BF}"/>
              </a:ext>
            </a:extLst>
          </p:cNvPr>
          <p:cNvSpPr txBox="1"/>
          <p:nvPr/>
        </p:nvSpPr>
        <p:spPr>
          <a:xfrm>
            <a:off x="3426612" y="5503268"/>
            <a:ext cx="266938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evantamento dos resultados e benefício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t-BR" sz="1100" dirty="0">
                <a:latin typeface="Calibri" panose="020F0502020204030204" pitchFamily="34" charset="0"/>
                <a:cs typeface="Calibri" panose="020F0502020204030204" pitchFamily="34" charset="0"/>
              </a:rPr>
              <a:t>Curadoria da IA e sustentação dos sistemas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lanejamento dos próximos passos dentro do roadmap de automação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58176EE7-F911-2232-9401-BBEC27129393}"/>
              </a:ext>
            </a:extLst>
          </p:cNvPr>
          <p:cNvSpPr txBox="1"/>
          <p:nvPr/>
        </p:nvSpPr>
        <p:spPr>
          <a:xfrm>
            <a:off x="9257353" y="2787332"/>
            <a:ext cx="2023106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tapa onde a solução é concebida e desenvolvida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mplementação no ambiente de produção</a:t>
            </a: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A81905B2-CC7D-2A3F-4EC3-481B43AA00B6}"/>
              </a:ext>
            </a:extLst>
          </p:cNvPr>
          <p:cNvSpPr/>
          <p:nvPr/>
        </p:nvSpPr>
        <p:spPr>
          <a:xfrm>
            <a:off x="4327299" y="3761554"/>
            <a:ext cx="2189393" cy="6343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pic>
        <p:nvPicPr>
          <p:cNvPr id="36" name="Gráfico 35" descr="Avião">
            <a:extLst>
              <a:ext uri="{FF2B5EF4-FFF2-40B4-BE49-F238E27FC236}">
                <a16:creationId xmlns:a16="http://schemas.microsoft.com/office/drawing/2014/main" id="{372085E2-B1C9-4354-7ECD-ECE4BBC212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834385">
            <a:off x="109842" y="3505964"/>
            <a:ext cx="648000" cy="648000"/>
          </a:xfrm>
          <a:prstGeom prst="rect">
            <a:avLst/>
          </a:prstGeom>
        </p:spPr>
      </p:pic>
      <p:sp>
        <p:nvSpPr>
          <p:cNvPr id="37" name="CaixaDeTexto 36">
            <a:extLst>
              <a:ext uri="{FF2B5EF4-FFF2-40B4-BE49-F238E27FC236}">
                <a16:creationId xmlns:a16="http://schemas.microsoft.com/office/drawing/2014/main" id="{7CBD9413-4E40-FD79-1017-1BC5CD38DE60}"/>
              </a:ext>
            </a:extLst>
          </p:cNvPr>
          <p:cNvSpPr txBox="1"/>
          <p:nvPr/>
        </p:nvSpPr>
        <p:spPr>
          <a:xfrm>
            <a:off x="642597" y="3411349"/>
            <a:ext cx="26253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FFC000"/>
                </a:solidFill>
                <a:latin typeface="Impact" panose="020B0806030902050204" pitchFamily="34" charset="0"/>
              </a:rPr>
              <a:t>1</a:t>
            </a:r>
            <a:r>
              <a:rPr lang="pt-BR" sz="2400" dirty="0">
                <a:solidFill>
                  <a:srgbClr val="FFC000"/>
                </a:solidFill>
                <a:latin typeface="Impact" panose="020B0806030902050204" pitchFamily="34" charset="0"/>
              </a:rPr>
              <a:t>. Imagine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F5A25D23-F6C6-C9F5-47F9-28130176520C}"/>
              </a:ext>
            </a:extLst>
          </p:cNvPr>
          <p:cNvSpPr txBox="1"/>
          <p:nvPr/>
        </p:nvSpPr>
        <p:spPr>
          <a:xfrm>
            <a:off x="994979" y="3912255"/>
            <a:ext cx="2752263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dentificar as oportunidades elegíveis para automação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t-BR" sz="1100" dirty="0">
                <a:latin typeface="Calibri" panose="020F0502020204030204" pitchFamily="34" charset="0"/>
                <a:cs typeface="Calibri" panose="020F0502020204030204" pitchFamily="34" charset="0"/>
              </a:rPr>
              <a:t>Revisar os processos para obter os melhores benefícios da execução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pt-BR" sz="1100" dirty="0">
                <a:latin typeface="Calibri" panose="020F0502020204030204" pitchFamily="34" charset="0"/>
                <a:cs typeface="Calibri" panose="020F0502020204030204" pitchFamily="34" charset="0"/>
              </a:rPr>
              <a:t>Realizar uma avaliação aprofundada para finalizar um processo de automação</a:t>
            </a:r>
            <a:endParaRPr kumimoji="0" lang="pt-BR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CF79829D-AB21-99F3-2197-87891EA4C830}"/>
              </a:ext>
            </a:extLst>
          </p:cNvPr>
          <p:cNvCxnSpPr>
            <a:cxnSpLocks/>
          </p:cNvCxnSpPr>
          <p:nvPr/>
        </p:nvCxnSpPr>
        <p:spPr>
          <a:xfrm flipV="1">
            <a:off x="2185996" y="6563202"/>
            <a:ext cx="6221117" cy="2113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834EA393-0978-07A5-0684-919FB75017D7}"/>
              </a:ext>
            </a:extLst>
          </p:cNvPr>
          <p:cNvCxnSpPr>
            <a:cxnSpLocks/>
          </p:cNvCxnSpPr>
          <p:nvPr/>
        </p:nvCxnSpPr>
        <p:spPr>
          <a:xfrm>
            <a:off x="5470442" y="2900630"/>
            <a:ext cx="0" cy="1281509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96BF56D9-3A61-29C7-14A8-FECD0F09D877}"/>
              </a:ext>
            </a:extLst>
          </p:cNvPr>
          <p:cNvCxnSpPr>
            <a:cxnSpLocks/>
          </p:cNvCxnSpPr>
          <p:nvPr/>
        </p:nvCxnSpPr>
        <p:spPr>
          <a:xfrm flipH="1" flipV="1">
            <a:off x="5470442" y="2900630"/>
            <a:ext cx="3393207" cy="39336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768378B0-CDB7-ED52-EF59-AF65B2B25DBE}"/>
              </a:ext>
            </a:extLst>
          </p:cNvPr>
          <p:cNvCxnSpPr>
            <a:cxnSpLocks/>
          </p:cNvCxnSpPr>
          <p:nvPr/>
        </p:nvCxnSpPr>
        <p:spPr>
          <a:xfrm>
            <a:off x="2185996" y="6145905"/>
            <a:ext cx="0" cy="438435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766C400E-0027-0F4E-AD55-4183DE4DB6B1}"/>
              </a:ext>
            </a:extLst>
          </p:cNvPr>
          <p:cNvSpPr txBox="1"/>
          <p:nvPr/>
        </p:nvSpPr>
        <p:spPr>
          <a:xfrm>
            <a:off x="8972131" y="2258928"/>
            <a:ext cx="26253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rgbClr val="FFC000"/>
                </a:solidFill>
                <a:latin typeface="Impact" panose="020B0806030902050204" pitchFamily="34" charset="0"/>
              </a:rPr>
              <a:t>2</a:t>
            </a:r>
            <a:r>
              <a:rPr lang="pt-BR" sz="2400" dirty="0">
                <a:solidFill>
                  <a:srgbClr val="FFC000"/>
                </a:solidFill>
                <a:latin typeface="Impact" panose="020B0806030902050204" pitchFamily="34" charset="0"/>
              </a:rPr>
              <a:t>. </a:t>
            </a:r>
            <a:r>
              <a:rPr lang="pt-BR" sz="2400" dirty="0" err="1">
                <a:solidFill>
                  <a:srgbClr val="FFC000"/>
                </a:solidFill>
                <a:latin typeface="Impact" panose="020B0806030902050204" pitchFamily="34" charset="0"/>
              </a:rPr>
              <a:t>Deliver</a:t>
            </a:r>
            <a:endParaRPr lang="pt-BR" sz="2400" dirty="0">
              <a:solidFill>
                <a:srgbClr val="FFC000"/>
              </a:solidFill>
              <a:latin typeface="Impact" panose="020B0806030902050204" pitchFamily="34" charset="0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F631DF1C-8D59-1ABC-ADA3-B7B65D3E2494}"/>
              </a:ext>
            </a:extLst>
          </p:cNvPr>
          <p:cNvSpPr/>
          <p:nvPr/>
        </p:nvSpPr>
        <p:spPr bwMode="gray">
          <a:xfrm>
            <a:off x="0" y="1291148"/>
            <a:ext cx="4277678" cy="39952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4" name="Espaço Reservado para Texto 5">
            <a:extLst>
              <a:ext uri="{FF2B5EF4-FFF2-40B4-BE49-F238E27FC236}">
                <a16:creationId xmlns:a16="http://schemas.microsoft.com/office/drawing/2014/main" id="{D609EEFB-3D4C-D7B1-1123-2BB41C5E7B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041" y="1012459"/>
            <a:ext cx="9956252" cy="757255"/>
          </a:xfrm>
        </p:spPr>
        <p:txBody>
          <a:bodyPr/>
          <a:lstStyle/>
          <a:p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O COE (Centro de Excelência) de Automação desempenha um papel fundamental na </a:t>
            </a:r>
            <a:r>
              <a:rPr lang="pt-BR" dirty="0" err="1">
                <a:solidFill>
                  <a:schemeClr val="tx1"/>
                </a:solidFill>
                <a:ea typeface="Calibri" panose="020F0502020204030204" pitchFamily="34" charset="0"/>
              </a:rPr>
              <a:t>hiperautomação</a:t>
            </a:r>
            <a:r>
              <a:rPr lang="pt-BR" dirty="0">
                <a:solidFill>
                  <a:schemeClr val="tx1"/>
                </a:solidFill>
                <a:ea typeface="Calibri" panose="020F0502020204030204" pitchFamily="34" charset="0"/>
              </a:rPr>
              <a:t>, coordenando e gerenciando a implementação de tecnologias automatizadas em toda a organização.</a:t>
            </a:r>
          </a:p>
          <a:p>
            <a:endParaRPr lang="pt-BR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endParaRPr lang="pt-BR" dirty="0">
              <a:solidFill>
                <a:schemeClr val="tx1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72668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91BD817-ED31-4962-832B-1254437B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402335"/>
            <a:ext cx="9371445" cy="401391"/>
          </a:xfrm>
        </p:spPr>
        <p:txBody>
          <a:bodyPr/>
          <a:lstStyle/>
          <a:p>
            <a:r>
              <a:rPr lang="pt-BR" sz="2400" dirty="0"/>
              <a:t>Case BPM + IA - Armazenamento Eletrônico dos Exames Realizados</a:t>
            </a:r>
            <a:endParaRPr lang="en-US" sz="2400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F29E67D9-E7EC-42D7-D58B-D26457EB3D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5118" y="1529624"/>
            <a:ext cx="575156" cy="575156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B4675E0C-53F6-AAED-37AE-74CFF231230C}"/>
              </a:ext>
            </a:extLst>
          </p:cNvPr>
          <p:cNvSpPr/>
          <p:nvPr/>
        </p:nvSpPr>
        <p:spPr>
          <a:xfrm>
            <a:off x="993150" y="2104780"/>
            <a:ext cx="763351" cy="3466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latin typeface="Rubik Light" panose="00000400000000000000" pitchFamily="2" charset="-79"/>
                <a:cs typeface="Rubik Light" panose="00000400000000000000" pitchFamily="2" charset="-79"/>
              </a:rPr>
              <a:t>Clinicas /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latin typeface="Rubik Light" panose="00000400000000000000" pitchFamily="2" charset="-79"/>
                <a:cs typeface="Rubik Light" panose="00000400000000000000" pitchFamily="2" charset="-79"/>
              </a:rPr>
              <a:t>Laboratórios</a:t>
            </a:r>
            <a:endParaRPr lang="en-US" sz="800"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D72A0EA1-0C71-C6D8-DB60-09504E5D1B73}"/>
              </a:ext>
            </a:extLst>
          </p:cNvPr>
          <p:cNvCxnSpPr>
            <a:cxnSpLocks/>
          </p:cNvCxnSpPr>
          <p:nvPr/>
        </p:nvCxnSpPr>
        <p:spPr>
          <a:xfrm>
            <a:off x="1849337" y="1913303"/>
            <a:ext cx="691305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áfico 12" descr="Caixa">
            <a:extLst>
              <a:ext uri="{FF2B5EF4-FFF2-40B4-BE49-F238E27FC236}">
                <a16:creationId xmlns:a16="http://schemas.microsoft.com/office/drawing/2014/main" id="{A65E66FB-348A-7947-49C7-5ECC68E305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11337" y="1416866"/>
            <a:ext cx="819722" cy="819722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C3240A36-0F8A-B283-E7E8-48A251C6F8A8}"/>
              </a:ext>
            </a:extLst>
          </p:cNvPr>
          <p:cNvSpPr txBox="1"/>
          <p:nvPr/>
        </p:nvSpPr>
        <p:spPr>
          <a:xfrm>
            <a:off x="2660817" y="2259222"/>
            <a:ext cx="73898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Guia/Pedido</a:t>
            </a:r>
          </a:p>
          <a:p>
            <a:r>
              <a:rPr lang="pt-BR"/>
              <a:t>Ficha Clínica</a:t>
            </a:r>
          </a:p>
          <a:p>
            <a:r>
              <a:rPr lang="pt-BR"/>
              <a:t>Exames </a:t>
            </a:r>
          </a:p>
          <a:p>
            <a:r>
              <a:rPr lang="pt-BR"/>
              <a:t>ASO</a:t>
            </a:r>
            <a:endParaRPr lang="en-US"/>
          </a:p>
        </p:txBody>
      </p:sp>
      <p:pic>
        <p:nvPicPr>
          <p:cNvPr id="23" name="Gráfico 22">
            <a:extLst>
              <a:ext uri="{FF2B5EF4-FFF2-40B4-BE49-F238E27FC236}">
                <a16:creationId xmlns:a16="http://schemas.microsoft.com/office/drawing/2014/main" id="{BB3BB671-E762-0D5E-805C-E331551FCC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72011" y="1562424"/>
            <a:ext cx="509556" cy="509556"/>
          </a:xfrm>
          <a:prstGeom prst="rect">
            <a:avLst/>
          </a:prstGeom>
        </p:spPr>
      </p:pic>
      <p:cxnSp>
        <p:nvCxnSpPr>
          <p:cNvPr id="24" name="Conector de Seta Reta 23">
            <a:extLst>
              <a:ext uri="{FF2B5EF4-FFF2-40B4-BE49-F238E27FC236}">
                <a16:creationId xmlns:a16="http://schemas.microsoft.com/office/drawing/2014/main" id="{08E9B7C4-438D-386E-7E09-25ECF57C5744}"/>
              </a:ext>
            </a:extLst>
          </p:cNvPr>
          <p:cNvCxnSpPr>
            <a:cxnSpLocks/>
          </p:cNvCxnSpPr>
          <p:nvPr/>
        </p:nvCxnSpPr>
        <p:spPr>
          <a:xfrm>
            <a:off x="3513938" y="1921845"/>
            <a:ext cx="64719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EAE5502-9A2E-25EB-6E92-699D1AD7B0DA}"/>
              </a:ext>
            </a:extLst>
          </p:cNvPr>
          <p:cNvSpPr txBox="1"/>
          <p:nvPr/>
        </p:nvSpPr>
        <p:spPr>
          <a:xfrm>
            <a:off x="4179027" y="2356722"/>
            <a:ext cx="130486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pPr algn="l"/>
            <a:r>
              <a:rPr lang="pt-BR"/>
              <a:t>1- Retirada de</a:t>
            </a:r>
          </a:p>
          <a:p>
            <a:r>
              <a:rPr lang="pt-BR"/>
              <a:t>Clips, Post-it, etc.</a:t>
            </a:r>
          </a:p>
          <a:p>
            <a:pPr algn="l"/>
            <a:r>
              <a:rPr lang="pt-BR"/>
              <a:t>2-Ordena documentos</a:t>
            </a:r>
            <a:endParaRPr lang="en-US"/>
          </a:p>
        </p:txBody>
      </p:sp>
      <p:pic>
        <p:nvPicPr>
          <p:cNvPr id="26" name="Gráfico 25">
            <a:extLst>
              <a:ext uri="{FF2B5EF4-FFF2-40B4-BE49-F238E27FC236}">
                <a16:creationId xmlns:a16="http://schemas.microsoft.com/office/drawing/2014/main" id="{EA9339F6-5C16-3075-3BC2-87E7D321FD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38107" y="1581594"/>
            <a:ext cx="509556" cy="509556"/>
          </a:xfrm>
          <a:prstGeom prst="rect">
            <a:avLst/>
          </a:prstGeom>
        </p:spPr>
      </p:pic>
      <p:cxnSp>
        <p:nvCxnSpPr>
          <p:cNvPr id="27" name="Conector de Seta Reta 26">
            <a:extLst>
              <a:ext uri="{FF2B5EF4-FFF2-40B4-BE49-F238E27FC236}">
                <a16:creationId xmlns:a16="http://schemas.microsoft.com/office/drawing/2014/main" id="{01A697AC-6752-872B-BBB3-4ECD73B0D7E3}"/>
              </a:ext>
            </a:extLst>
          </p:cNvPr>
          <p:cNvCxnSpPr>
            <a:cxnSpLocks/>
          </p:cNvCxnSpPr>
          <p:nvPr/>
        </p:nvCxnSpPr>
        <p:spPr>
          <a:xfrm>
            <a:off x="5483888" y="1946142"/>
            <a:ext cx="65421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áfico 27">
            <a:extLst>
              <a:ext uri="{FF2B5EF4-FFF2-40B4-BE49-F238E27FC236}">
                <a16:creationId xmlns:a16="http://schemas.microsoft.com/office/drawing/2014/main" id="{98AA90C5-2423-6767-1D8A-60E89F4CA0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08375" y="1731477"/>
            <a:ext cx="509557" cy="509557"/>
          </a:xfrm>
          <a:prstGeom prst="rect">
            <a:avLst/>
          </a:prstGeom>
        </p:spPr>
      </p:pic>
      <p:sp>
        <p:nvSpPr>
          <p:cNvPr id="29" name="CaixaDeTexto 28">
            <a:extLst>
              <a:ext uri="{FF2B5EF4-FFF2-40B4-BE49-F238E27FC236}">
                <a16:creationId xmlns:a16="http://schemas.microsoft.com/office/drawing/2014/main" id="{C884268D-CC2A-F1EF-D054-CF5AD5B493FE}"/>
              </a:ext>
            </a:extLst>
          </p:cNvPr>
          <p:cNvSpPr txBox="1"/>
          <p:nvPr/>
        </p:nvSpPr>
        <p:spPr>
          <a:xfrm>
            <a:off x="6226577" y="2363389"/>
            <a:ext cx="8421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Escaneia os documentos</a:t>
            </a:r>
            <a:endParaRPr lang="en-US"/>
          </a:p>
        </p:txBody>
      </p:sp>
      <p:pic>
        <p:nvPicPr>
          <p:cNvPr id="30" name="Picture 10" descr="Image result for icone documents">
            <a:extLst>
              <a:ext uri="{FF2B5EF4-FFF2-40B4-BE49-F238E27FC236}">
                <a16:creationId xmlns:a16="http://schemas.microsoft.com/office/drawing/2014/main" id="{72DFFE9B-1832-D9CF-D501-9A2AF79C8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392" y="1747353"/>
            <a:ext cx="509556" cy="509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2A295C47-BD4C-33B3-8C26-BF93295D866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75119" y="1747353"/>
            <a:ext cx="461656" cy="461656"/>
          </a:xfrm>
          <a:prstGeom prst="rect">
            <a:avLst/>
          </a:prstGeom>
        </p:spPr>
      </p:pic>
      <p:cxnSp>
        <p:nvCxnSpPr>
          <p:cNvPr id="32" name="Conector de Seta Reta 31">
            <a:extLst>
              <a:ext uri="{FF2B5EF4-FFF2-40B4-BE49-F238E27FC236}">
                <a16:creationId xmlns:a16="http://schemas.microsoft.com/office/drawing/2014/main" id="{3E5EBB3C-00E9-4329-532A-8D653852AF2E}"/>
              </a:ext>
            </a:extLst>
          </p:cNvPr>
          <p:cNvCxnSpPr>
            <a:cxnSpLocks/>
          </p:cNvCxnSpPr>
          <p:nvPr/>
        </p:nvCxnSpPr>
        <p:spPr>
          <a:xfrm>
            <a:off x="7239902" y="1973556"/>
            <a:ext cx="36026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BE67B1AC-BEFE-35D6-0A6C-700E3CDEA268}"/>
              </a:ext>
            </a:extLst>
          </p:cNvPr>
          <p:cNvSpPr txBox="1"/>
          <p:nvPr/>
        </p:nvSpPr>
        <p:spPr>
          <a:xfrm>
            <a:off x="7645802" y="2363389"/>
            <a:ext cx="8421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Documentos Digitais</a:t>
            </a:r>
            <a:endParaRPr lang="en-US"/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7A900CD2-7DB2-408F-AB08-B941EA40630E}"/>
              </a:ext>
            </a:extLst>
          </p:cNvPr>
          <p:cNvSpPr/>
          <p:nvPr/>
        </p:nvSpPr>
        <p:spPr bwMode="gray">
          <a:xfrm>
            <a:off x="2323898" y="1305799"/>
            <a:ext cx="6399027" cy="1742198"/>
          </a:xfrm>
          <a:prstGeom prst="rect">
            <a:avLst/>
          </a:prstGeom>
          <a:noFill/>
          <a:ln w="19050" algn="ctr">
            <a:solidFill>
              <a:schemeClr val="tx1">
                <a:lumMod val="85000"/>
                <a:lumOff val="1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B1B8AF4A-8A0C-CFE3-3A6C-6B132866922A}"/>
              </a:ext>
            </a:extLst>
          </p:cNvPr>
          <p:cNvSpPr txBox="1"/>
          <p:nvPr/>
        </p:nvSpPr>
        <p:spPr>
          <a:xfrm>
            <a:off x="2304310" y="998861"/>
            <a:ext cx="345511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400" b="1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gienização e Digitalização - Processo Manual</a:t>
            </a:r>
            <a:endParaRPr lang="en-US" sz="1400" b="1">
              <a:solidFill>
                <a:srgbClr val="FFC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EC63E63E-482D-F753-BFEB-07FE31805D7B}"/>
              </a:ext>
            </a:extLst>
          </p:cNvPr>
          <p:cNvGrpSpPr/>
          <p:nvPr/>
        </p:nvGrpSpPr>
        <p:grpSpPr>
          <a:xfrm>
            <a:off x="10174011" y="2593680"/>
            <a:ext cx="1046389" cy="615553"/>
            <a:chOff x="5836272" y="5936166"/>
            <a:chExt cx="907792" cy="519248"/>
          </a:xfrm>
        </p:grpSpPr>
        <p:sp>
          <p:nvSpPr>
            <p:cNvPr id="37" name="Retângulo: Cantos Arredondados 36">
              <a:extLst>
                <a:ext uri="{FF2B5EF4-FFF2-40B4-BE49-F238E27FC236}">
                  <a16:creationId xmlns:a16="http://schemas.microsoft.com/office/drawing/2014/main" id="{DAD96835-143A-DFE0-52E7-7B85D52E00E7}"/>
                </a:ext>
              </a:extLst>
            </p:cNvPr>
            <p:cNvSpPr/>
            <p:nvPr/>
          </p:nvSpPr>
          <p:spPr bwMode="gray">
            <a:xfrm>
              <a:off x="5836272" y="5936166"/>
              <a:ext cx="907792" cy="519248"/>
            </a:xfrm>
            <a:prstGeom prst="roundRect">
              <a:avLst/>
            </a:prstGeom>
            <a:solidFill>
              <a:srgbClr val="3A3A3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  <p:pic>
          <p:nvPicPr>
            <p:cNvPr id="38" name="Gráfico 37">
              <a:extLst>
                <a:ext uri="{FF2B5EF4-FFF2-40B4-BE49-F238E27FC236}">
                  <a16:creationId xmlns:a16="http://schemas.microsoft.com/office/drawing/2014/main" id="{637A7F10-ADF7-D7D7-AF94-34D41EF68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378240" y="6051790"/>
              <a:ext cx="288000" cy="288000"/>
            </a:xfrm>
            <a:prstGeom prst="rect">
              <a:avLst/>
            </a:prstGeom>
          </p:spPr>
        </p:pic>
        <p:pic>
          <p:nvPicPr>
            <p:cNvPr id="39" name="Imagem 38" descr="Uma imagem contendo desenho&#10;&#10;Descrição gerada automaticamente">
              <a:extLst>
                <a:ext uri="{FF2B5EF4-FFF2-40B4-BE49-F238E27FC236}">
                  <a16:creationId xmlns:a16="http://schemas.microsoft.com/office/drawing/2014/main" id="{D585F22A-6C6D-D7DF-F26A-3A45D759D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965307" y="6087790"/>
              <a:ext cx="352476" cy="216000"/>
            </a:xfrm>
            <a:prstGeom prst="rect">
              <a:avLst/>
            </a:prstGeom>
          </p:spPr>
        </p:pic>
      </p:grpSp>
      <p:cxnSp>
        <p:nvCxnSpPr>
          <p:cNvPr id="40" name="Conector: Curvo 39">
            <a:extLst>
              <a:ext uri="{FF2B5EF4-FFF2-40B4-BE49-F238E27FC236}">
                <a16:creationId xmlns:a16="http://schemas.microsoft.com/office/drawing/2014/main" id="{C24938CB-A1C8-DFE8-6167-671B4D66CF35}"/>
              </a:ext>
            </a:extLst>
          </p:cNvPr>
          <p:cNvCxnSpPr>
            <a:cxnSpLocks/>
          </p:cNvCxnSpPr>
          <p:nvPr/>
        </p:nvCxnSpPr>
        <p:spPr>
          <a:xfrm rot="16200000" flipV="1">
            <a:off x="9281663" y="1178137"/>
            <a:ext cx="569304" cy="2261782"/>
          </a:xfrm>
          <a:prstGeom prst="curved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Imagem 40">
            <a:extLst>
              <a:ext uri="{FF2B5EF4-FFF2-40B4-BE49-F238E27FC236}">
                <a16:creationId xmlns:a16="http://schemas.microsoft.com/office/drawing/2014/main" id="{81938DBD-C6F8-D466-D196-0B5494BAC79C}"/>
              </a:ext>
            </a:extLst>
          </p:cNvPr>
          <p:cNvPicPr/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7"/>
          <a:stretch/>
        </p:blipFill>
        <p:spPr>
          <a:xfrm>
            <a:off x="7853452" y="4105587"/>
            <a:ext cx="516956" cy="516793"/>
          </a:xfrm>
          <a:prstGeom prst="ellipse">
            <a:avLst/>
          </a:prstGeom>
        </p:spPr>
      </p:pic>
      <p:cxnSp>
        <p:nvCxnSpPr>
          <p:cNvPr id="42" name="Conector: Curvo 41">
            <a:extLst>
              <a:ext uri="{FF2B5EF4-FFF2-40B4-BE49-F238E27FC236}">
                <a16:creationId xmlns:a16="http://schemas.microsoft.com/office/drawing/2014/main" id="{A808E935-F386-949E-AE18-33176E56C9B8}"/>
              </a:ext>
            </a:extLst>
          </p:cNvPr>
          <p:cNvCxnSpPr>
            <a:cxnSpLocks/>
          </p:cNvCxnSpPr>
          <p:nvPr/>
        </p:nvCxnSpPr>
        <p:spPr>
          <a:xfrm rot="5400000">
            <a:off x="9027873" y="2705160"/>
            <a:ext cx="1165260" cy="2173406"/>
          </a:xfrm>
          <a:prstGeom prst="curved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5BB591A0-5B0A-43A3-87DE-E99F778508D9}"/>
              </a:ext>
            </a:extLst>
          </p:cNvPr>
          <p:cNvSpPr txBox="1"/>
          <p:nvPr/>
        </p:nvSpPr>
        <p:spPr>
          <a:xfrm>
            <a:off x="9596780" y="1801101"/>
            <a:ext cx="8421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Copia Documentos</a:t>
            </a:r>
            <a:endParaRPr lang="en-US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E8FF6F19-AD59-CBA4-6197-9D318B4CCA09}"/>
              </a:ext>
            </a:extLst>
          </p:cNvPr>
          <p:cNvSpPr txBox="1"/>
          <p:nvPr/>
        </p:nvSpPr>
        <p:spPr>
          <a:xfrm>
            <a:off x="9729410" y="4116097"/>
            <a:ext cx="8421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Inicia Processo de Carga de Lotes &amp; Kits</a:t>
            </a:r>
            <a:endParaRPr lang="en-US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F427EB41-2129-91DC-1342-4F6653E65FEE}"/>
              </a:ext>
            </a:extLst>
          </p:cNvPr>
          <p:cNvSpPr txBox="1"/>
          <p:nvPr/>
        </p:nvSpPr>
        <p:spPr>
          <a:xfrm>
            <a:off x="7815784" y="4753384"/>
            <a:ext cx="637329" cy="516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buSzPct val="100000"/>
            </a:pPr>
            <a:r>
              <a:rPr lang="pt-BR" sz="1000">
                <a:solidFill>
                  <a:srgbClr val="313131"/>
                </a:solidFill>
              </a:rPr>
              <a:t>Leitura</a:t>
            </a:r>
          </a:p>
          <a:p>
            <a:pPr>
              <a:buSzPct val="100000"/>
            </a:pPr>
            <a:r>
              <a:rPr lang="pt-BR" sz="1000">
                <a:solidFill>
                  <a:srgbClr val="313131"/>
                </a:solidFill>
              </a:rPr>
              <a:t>OCR e</a:t>
            </a:r>
          </a:p>
          <a:p>
            <a:pPr>
              <a:buSzPct val="100000"/>
            </a:pPr>
            <a:r>
              <a:rPr lang="pt-BR" sz="1000">
                <a:solidFill>
                  <a:srgbClr val="313131"/>
                </a:solidFill>
              </a:rPr>
              <a:t>QR </a:t>
            </a:r>
            <a:r>
              <a:rPr lang="pt-BR" sz="1000" err="1">
                <a:solidFill>
                  <a:srgbClr val="313131"/>
                </a:solidFill>
              </a:rPr>
              <a:t>Code</a:t>
            </a:r>
            <a:endParaRPr lang="pt-BR" sz="1000">
              <a:solidFill>
                <a:srgbClr val="313131"/>
              </a:solidFill>
            </a:endParaRPr>
          </a:p>
        </p:txBody>
      </p:sp>
      <p:pic>
        <p:nvPicPr>
          <p:cNvPr id="46" name="Gráfico 45">
            <a:extLst>
              <a:ext uri="{FF2B5EF4-FFF2-40B4-BE49-F238E27FC236}">
                <a16:creationId xmlns:a16="http://schemas.microsoft.com/office/drawing/2014/main" id="{021F94AF-32CC-846C-7839-9010D888DE3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56664" y="4039385"/>
            <a:ext cx="566172" cy="566172"/>
          </a:xfrm>
          <a:prstGeom prst="rect">
            <a:avLst/>
          </a:prstGeom>
        </p:spPr>
      </p:pic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id="{AFBA07AD-D5A9-33BE-217F-E32FE5884FB5}"/>
              </a:ext>
            </a:extLst>
          </p:cNvPr>
          <p:cNvCxnSpPr>
            <a:cxnSpLocks/>
          </p:cNvCxnSpPr>
          <p:nvPr/>
        </p:nvCxnSpPr>
        <p:spPr>
          <a:xfrm flipH="1">
            <a:off x="7366022" y="4363983"/>
            <a:ext cx="405902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38AA1DBA-8A4B-0D4A-2C37-B203FA69D0A7}"/>
              </a:ext>
            </a:extLst>
          </p:cNvPr>
          <p:cNvSpPr txBox="1"/>
          <p:nvPr/>
        </p:nvSpPr>
        <p:spPr>
          <a:xfrm>
            <a:off x="4037132" y="4746803"/>
            <a:ext cx="1240482" cy="3397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SzPct val="100000"/>
            </a:pPr>
            <a:r>
              <a:rPr lang="pt-BR" sz="1000">
                <a:solidFill>
                  <a:srgbClr val="313131"/>
                </a:solidFill>
              </a:rPr>
              <a:t>Kits Armazenados e Disponíveis</a:t>
            </a:r>
          </a:p>
        </p:txBody>
      </p:sp>
      <p:cxnSp>
        <p:nvCxnSpPr>
          <p:cNvPr id="49" name="Conector de Seta Reta 48">
            <a:extLst>
              <a:ext uri="{FF2B5EF4-FFF2-40B4-BE49-F238E27FC236}">
                <a16:creationId xmlns:a16="http://schemas.microsoft.com/office/drawing/2014/main" id="{02FBCF8D-21D7-D2C0-323E-2A29B33B013D}"/>
              </a:ext>
            </a:extLst>
          </p:cNvPr>
          <p:cNvCxnSpPr>
            <a:cxnSpLocks/>
          </p:cNvCxnSpPr>
          <p:nvPr/>
        </p:nvCxnSpPr>
        <p:spPr>
          <a:xfrm flipH="1">
            <a:off x="5245017" y="4363983"/>
            <a:ext cx="527872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de Seta Reta 49">
            <a:extLst>
              <a:ext uri="{FF2B5EF4-FFF2-40B4-BE49-F238E27FC236}">
                <a16:creationId xmlns:a16="http://schemas.microsoft.com/office/drawing/2014/main" id="{F4CA8993-7A74-3396-825E-234F10AE70E9}"/>
              </a:ext>
            </a:extLst>
          </p:cNvPr>
          <p:cNvCxnSpPr>
            <a:cxnSpLocks/>
          </p:cNvCxnSpPr>
          <p:nvPr/>
        </p:nvCxnSpPr>
        <p:spPr>
          <a:xfrm>
            <a:off x="6547935" y="4869864"/>
            <a:ext cx="0" cy="39138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Gráfico 50">
            <a:extLst>
              <a:ext uri="{FF2B5EF4-FFF2-40B4-BE49-F238E27FC236}">
                <a16:creationId xmlns:a16="http://schemas.microsoft.com/office/drawing/2014/main" id="{D14801E4-B6D2-AA0A-04FA-9AA46C7B1A6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06544" y="5367121"/>
            <a:ext cx="509556" cy="509556"/>
          </a:xfrm>
          <a:prstGeom prst="rect">
            <a:avLst/>
          </a:prstGeom>
        </p:spPr>
      </p:pic>
      <p:sp>
        <p:nvSpPr>
          <p:cNvPr id="52" name="CaixaDeTexto 51">
            <a:extLst>
              <a:ext uri="{FF2B5EF4-FFF2-40B4-BE49-F238E27FC236}">
                <a16:creationId xmlns:a16="http://schemas.microsoft.com/office/drawing/2014/main" id="{520247AB-51B1-4ABA-0A67-933CE489A779}"/>
              </a:ext>
            </a:extLst>
          </p:cNvPr>
          <p:cNvSpPr txBox="1"/>
          <p:nvPr/>
        </p:nvSpPr>
        <p:spPr>
          <a:xfrm>
            <a:off x="6102528" y="6032479"/>
            <a:ext cx="8421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Tratamento de Críticas</a:t>
            </a:r>
            <a:endParaRPr lang="en-US"/>
          </a:p>
        </p:txBody>
      </p:sp>
      <p:pic>
        <p:nvPicPr>
          <p:cNvPr id="53" name="Gráfico 52" descr="Monitorar">
            <a:extLst>
              <a:ext uri="{FF2B5EF4-FFF2-40B4-BE49-F238E27FC236}">
                <a16:creationId xmlns:a16="http://schemas.microsoft.com/office/drawing/2014/main" id="{C3B8695E-02FD-4A69-F64B-4C63C7F54D2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678674" y="5538065"/>
            <a:ext cx="452360" cy="452360"/>
          </a:xfrm>
          <a:prstGeom prst="rect">
            <a:avLst/>
          </a:prstGeom>
        </p:spPr>
      </p:pic>
      <p:pic>
        <p:nvPicPr>
          <p:cNvPr id="54" name="Gráfico 53">
            <a:extLst>
              <a:ext uri="{FF2B5EF4-FFF2-40B4-BE49-F238E27FC236}">
                <a16:creationId xmlns:a16="http://schemas.microsoft.com/office/drawing/2014/main" id="{CA4F544E-31BC-E474-BF7E-B71C5349BA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32047" y="4067693"/>
            <a:ext cx="509556" cy="509556"/>
          </a:xfrm>
          <a:prstGeom prst="rect">
            <a:avLst/>
          </a:prstGeom>
        </p:spPr>
      </p:pic>
      <p:cxnSp>
        <p:nvCxnSpPr>
          <p:cNvPr id="55" name="Conector de Seta Reta 54">
            <a:extLst>
              <a:ext uri="{FF2B5EF4-FFF2-40B4-BE49-F238E27FC236}">
                <a16:creationId xmlns:a16="http://schemas.microsoft.com/office/drawing/2014/main" id="{F969080F-F219-C940-0006-72F3742D8DEF}"/>
              </a:ext>
            </a:extLst>
          </p:cNvPr>
          <p:cNvCxnSpPr>
            <a:cxnSpLocks/>
          </p:cNvCxnSpPr>
          <p:nvPr/>
        </p:nvCxnSpPr>
        <p:spPr>
          <a:xfrm>
            <a:off x="3800875" y="4314254"/>
            <a:ext cx="36026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7E12AAEA-A27D-E8EC-B0C6-AD48B0EA11A9}"/>
              </a:ext>
            </a:extLst>
          </p:cNvPr>
          <p:cNvSpPr txBox="1"/>
          <p:nvPr/>
        </p:nvSpPr>
        <p:spPr>
          <a:xfrm>
            <a:off x="2427882" y="4790808"/>
            <a:ext cx="1293052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/>
              <a:t>Consulta Documentos</a:t>
            </a:r>
          </a:p>
          <a:p>
            <a:r>
              <a:rPr lang="pt-BR"/>
              <a:t>Por Empresa/Funcionário</a:t>
            </a:r>
            <a:endParaRPr lang="en-US"/>
          </a:p>
        </p:txBody>
      </p:sp>
      <p:pic>
        <p:nvPicPr>
          <p:cNvPr id="57" name="Gráfico 56" descr="Monitorar">
            <a:extLst>
              <a:ext uri="{FF2B5EF4-FFF2-40B4-BE49-F238E27FC236}">
                <a16:creationId xmlns:a16="http://schemas.microsoft.com/office/drawing/2014/main" id="{273A9EB5-CF3F-6339-2B1C-5FA3ACF7FF8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287758" y="4301024"/>
            <a:ext cx="452360" cy="452360"/>
          </a:xfrm>
          <a:prstGeom prst="rect">
            <a:avLst/>
          </a:prstGeom>
        </p:spPr>
      </p:pic>
      <p:cxnSp>
        <p:nvCxnSpPr>
          <p:cNvPr id="58" name="Conector de Seta Reta 57">
            <a:extLst>
              <a:ext uri="{FF2B5EF4-FFF2-40B4-BE49-F238E27FC236}">
                <a16:creationId xmlns:a16="http://schemas.microsoft.com/office/drawing/2014/main" id="{F915CD0D-2C8C-591A-9FA2-F0FCB6F44C51}"/>
              </a:ext>
            </a:extLst>
          </p:cNvPr>
          <p:cNvCxnSpPr>
            <a:cxnSpLocks/>
          </p:cNvCxnSpPr>
          <p:nvPr/>
        </p:nvCxnSpPr>
        <p:spPr>
          <a:xfrm flipH="1" flipV="1">
            <a:off x="5277620" y="4577249"/>
            <a:ext cx="981478" cy="68399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ângulo 58">
            <a:extLst>
              <a:ext uri="{FF2B5EF4-FFF2-40B4-BE49-F238E27FC236}">
                <a16:creationId xmlns:a16="http://schemas.microsoft.com/office/drawing/2014/main" id="{36E61E8C-04E2-67F7-197A-CFDBEBBDF028}"/>
              </a:ext>
            </a:extLst>
          </p:cNvPr>
          <p:cNvSpPr/>
          <p:nvPr/>
        </p:nvSpPr>
        <p:spPr bwMode="gray">
          <a:xfrm>
            <a:off x="2304310" y="3751280"/>
            <a:ext cx="6399027" cy="2712573"/>
          </a:xfrm>
          <a:prstGeom prst="rect">
            <a:avLst/>
          </a:prstGeom>
          <a:noFill/>
          <a:ln w="19050" algn="ctr">
            <a:solidFill>
              <a:schemeClr val="tx1">
                <a:lumMod val="85000"/>
                <a:lumOff val="1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6740158A-662E-C657-C523-F7203D454C5A}"/>
              </a:ext>
            </a:extLst>
          </p:cNvPr>
          <p:cNvSpPr txBox="1"/>
          <p:nvPr/>
        </p:nvSpPr>
        <p:spPr>
          <a:xfrm>
            <a:off x="2264139" y="3482857"/>
            <a:ext cx="488294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400" b="1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ização dos KIT– Processos Automáticos e </a:t>
            </a:r>
            <a:r>
              <a:rPr lang="pt-BR" sz="1400" b="1" err="1">
                <a:solidFill>
                  <a:srgbClr val="FFC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mi-automáticos</a:t>
            </a:r>
            <a:endParaRPr lang="en-US" sz="1400" b="1">
              <a:solidFill>
                <a:srgbClr val="FFC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tângulo: Cantos Arredondados 60">
            <a:extLst>
              <a:ext uri="{FF2B5EF4-FFF2-40B4-BE49-F238E27FC236}">
                <a16:creationId xmlns:a16="http://schemas.microsoft.com/office/drawing/2014/main" id="{2F3476B1-3F2A-0DB6-50E5-48D3C389C976}"/>
              </a:ext>
            </a:extLst>
          </p:cNvPr>
          <p:cNvSpPr/>
          <p:nvPr/>
        </p:nvSpPr>
        <p:spPr bwMode="gray">
          <a:xfrm>
            <a:off x="418747" y="3791901"/>
            <a:ext cx="1552634" cy="2548356"/>
          </a:xfrm>
          <a:prstGeom prst="roundRect">
            <a:avLst>
              <a:gd name="adj" fmla="val 7345"/>
            </a:avLst>
          </a:prstGeom>
          <a:noFill/>
          <a:ln w="19050" algn="ctr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wrap="square" lIns="36000" tIns="88900" rIns="36000" bIns="88900" rtlCol="0" anchor="ctr"/>
          <a:lstStyle/>
          <a:p>
            <a:pPr marL="174625" indent="-174625">
              <a:lnSpc>
                <a:spcPct val="106000"/>
              </a:lnSpc>
              <a:buFont typeface="Wingdings" panose="05000000000000000000" pitchFamily="2" charset="2"/>
              <a:buChar char="ü"/>
            </a:pPr>
            <a:r>
              <a:rPr lang="pt-BR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+10 milhões </a:t>
            </a:r>
            <a:r>
              <a:rPr lang="pt-BR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 documentos digitalizados</a:t>
            </a:r>
          </a:p>
          <a:p>
            <a:pPr marL="174625" indent="-174625">
              <a:lnSpc>
                <a:spcPct val="106000"/>
              </a:lnSpc>
              <a:buFont typeface="Wingdings" panose="05000000000000000000" pitchFamily="2" charset="2"/>
              <a:buChar char="ü"/>
            </a:pPr>
            <a:r>
              <a:rPr lang="pt-BR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3% de sucesso na indexação</a:t>
            </a:r>
          </a:p>
          <a:p>
            <a:pPr marL="174625" indent="-174625">
              <a:lnSpc>
                <a:spcPct val="106000"/>
              </a:lnSpc>
              <a:buFont typeface="Wingdings" panose="05000000000000000000" pitchFamily="2" charset="2"/>
              <a:buChar char="ü"/>
            </a:pPr>
            <a:r>
              <a:rPr lang="pt-BR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scas que demoravam horam reduzidas para segundos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E1F9A3F7-A697-9B36-35D1-7C3B448A0D6F}"/>
              </a:ext>
            </a:extLst>
          </p:cNvPr>
          <p:cNvSpPr txBox="1"/>
          <p:nvPr/>
        </p:nvSpPr>
        <p:spPr>
          <a:xfrm>
            <a:off x="5489937" y="3881312"/>
            <a:ext cx="21734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buSzPct val="100000"/>
              <a:defRPr sz="1000">
                <a:solidFill>
                  <a:srgbClr val="313131"/>
                </a:solidFill>
                <a:latin typeface="Rubik Light" panose="00000400000000000000" pitchFamily="2" charset="-79"/>
                <a:cs typeface="Rubik Light" panose="00000400000000000000" pitchFamily="2" charset="-79"/>
              </a:defRPr>
            </a:lvl1pPr>
          </a:lstStyle>
          <a:p>
            <a:r>
              <a:rPr lang="pt-BR" b="1" dirty="0"/>
              <a:t>Classificador Documentos</a:t>
            </a:r>
            <a:endParaRPr lang="en-US" b="1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2FD7C4BA-D30C-0FED-5F71-FA1786A0000F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31533" t="40071" r="18310" b="12917"/>
          <a:stretch/>
        </p:blipFill>
        <p:spPr>
          <a:xfrm>
            <a:off x="5959076" y="4114058"/>
            <a:ext cx="1240482" cy="62496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2057442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91BD817-ED31-4962-832B-1254437B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402335"/>
            <a:ext cx="9371445" cy="401391"/>
          </a:xfrm>
        </p:spPr>
        <p:txBody>
          <a:bodyPr/>
          <a:lstStyle/>
          <a:p>
            <a:r>
              <a:rPr lang="pt-BR" sz="2400" dirty="0"/>
              <a:t>Case RPA + IA - IA na validação dos Laudos de Ultrassonografia</a:t>
            </a:r>
            <a:endParaRPr lang="en-US" sz="2400" dirty="0"/>
          </a:p>
        </p:txBody>
      </p:sp>
      <p:sp>
        <p:nvSpPr>
          <p:cNvPr id="7" name="Seta: para a Esquerda 6">
            <a:extLst>
              <a:ext uri="{FF2B5EF4-FFF2-40B4-BE49-F238E27FC236}">
                <a16:creationId xmlns:a16="http://schemas.microsoft.com/office/drawing/2014/main" id="{40F44F5F-0CD5-83E7-7DEB-12CE3C3CCA5A}"/>
              </a:ext>
            </a:extLst>
          </p:cNvPr>
          <p:cNvSpPr/>
          <p:nvPr/>
        </p:nvSpPr>
        <p:spPr bwMode="gray">
          <a:xfrm>
            <a:off x="6059678" y="1123549"/>
            <a:ext cx="529719" cy="2652177"/>
          </a:xfrm>
          <a:prstGeom prst="leftArrow">
            <a:avLst>
              <a:gd name="adj1" fmla="val 50000"/>
              <a:gd name="adj2" fmla="val 100000"/>
            </a:avLst>
          </a:prstGeom>
          <a:gradFill>
            <a:gsLst>
              <a:gs pos="0">
                <a:srgbClr val="ED8B2F"/>
              </a:gs>
              <a:gs pos="71000">
                <a:srgbClr val="FFFFFF">
                  <a:alpha val="80000"/>
                </a:srgbClr>
              </a:gs>
            </a:gsLst>
            <a:lin ang="10800000" scaled="1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CCD2DFD7-8FB8-BFA6-0DDA-11F673882A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581" y="2301535"/>
            <a:ext cx="575156" cy="575156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1B28FAD6-E92B-E0AF-6066-CBC8B113DBFB}"/>
              </a:ext>
            </a:extLst>
          </p:cNvPr>
          <p:cNvSpPr/>
          <p:nvPr/>
        </p:nvSpPr>
        <p:spPr>
          <a:xfrm>
            <a:off x="99915" y="2876691"/>
            <a:ext cx="516487" cy="213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Médico</a:t>
            </a:r>
            <a:endParaRPr lang="en-US" sz="800">
              <a:solidFill>
                <a:srgbClr val="FFC000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id="{0905A2E6-C237-1C70-56ED-2F0CFC9EA479}"/>
              </a:ext>
            </a:extLst>
          </p:cNvPr>
          <p:cNvCxnSpPr>
            <a:cxnSpLocks/>
          </p:cNvCxnSpPr>
          <p:nvPr/>
        </p:nvCxnSpPr>
        <p:spPr>
          <a:xfrm>
            <a:off x="707868" y="2601239"/>
            <a:ext cx="1233218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Image result for icone documents">
            <a:extLst>
              <a:ext uri="{FF2B5EF4-FFF2-40B4-BE49-F238E27FC236}">
                <a16:creationId xmlns:a16="http://schemas.microsoft.com/office/drawing/2014/main" id="{B58C744A-64DF-D068-82EB-0A64B335D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699" y="2046757"/>
            <a:ext cx="509556" cy="509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239F90A3-29BB-5CD8-08E1-A8224B3E19D2}"/>
              </a:ext>
            </a:extLst>
          </p:cNvPr>
          <p:cNvSpPr/>
          <p:nvPr/>
        </p:nvSpPr>
        <p:spPr>
          <a:xfrm>
            <a:off x="838565" y="2680231"/>
            <a:ext cx="957314" cy="5266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ra o Laudo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 Exame de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ltrassonografia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B885C1B8-34F3-FD3D-775C-07A13A220A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8691" y="2036495"/>
            <a:ext cx="1613668" cy="1039636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AA9247BD-4267-8495-061F-07D28E167FCA}"/>
              </a:ext>
            </a:extLst>
          </p:cNvPr>
          <p:cNvSpPr/>
          <p:nvPr/>
        </p:nvSpPr>
        <p:spPr>
          <a:xfrm>
            <a:off x="2722967" y="3097646"/>
            <a:ext cx="425117" cy="2329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CS</a:t>
            </a:r>
            <a:endParaRPr lang="en-US" sz="8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Seta: Curva para Baixo 14">
            <a:extLst>
              <a:ext uri="{FF2B5EF4-FFF2-40B4-BE49-F238E27FC236}">
                <a16:creationId xmlns:a16="http://schemas.microsoft.com/office/drawing/2014/main" id="{457AD211-844A-A62C-F345-6A9AF0D2F078}"/>
              </a:ext>
            </a:extLst>
          </p:cNvPr>
          <p:cNvSpPr/>
          <p:nvPr/>
        </p:nvSpPr>
        <p:spPr>
          <a:xfrm>
            <a:off x="3742359" y="1759548"/>
            <a:ext cx="2014595" cy="439947"/>
          </a:xfrm>
          <a:prstGeom prst="curvedDownArrow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6" name="Seta: Curva para Baixo 15">
            <a:extLst>
              <a:ext uri="{FF2B5EF4-FFF2-40B4-BE49-F238E27FC236}">
                <a16:creationId xmlns:a16="http://schemas.microsoft.com/office/drawing/2014/main" id="{445BFE2B-458E-D4BD-97B4-0B42DADC6CD1}"/>
              </a:ext>
            </a:extLst>
          </p:cNvPr>
          <p:cNvSpPr/>
          <p:nvPr/>
        </p:nvSpPr>
        <p:spPr>
          <a:xfrm rot="10800000">
            <a:off x="3742358" y="2764491"/>
            <a:ext cx="2014595" cy="439947"/>
          </a:xfrm>
          <a:prstGeom prst="curvedDownArrow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97A8F1F2-0EF0-D343-C57D-89E2FBF235BE}"/>
              </a:ext>
            </a:extLst>
          </p:cNvPr>
          <p:cNvSpPr/>
          <p:nvPr/>
        </p:nvSpPr>
        <p:spPr>
          <a:xfrm>
            <a:off x="4066964" y="1874908"/>
            <a:ext cx="1318828" cy="37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via Laudo do exame para o IA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2EA973A-C539-5702-B32A-058D327CD361}"/>
              </a:ext>
            </a:extLst>
          </p:cNvPr>
          <p:cNvSpPr/>
          <p:nvPr/>
        </p:nvSpPr>
        <p:spPr>
          <a:xfrm>
            <a:off x="4101495" y="2798226"/>
            <a:ext cx="1318828" cy="37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tura as imagens do exame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2" descr="Cogwheel, data management, data preparation, funnel, management icon -  Download on Iconfinder">
            <a:extLst>
              <a:ext uri="{FF2B5EF4-FFF2-40B4-BE49-F238E27FC236}">
                <a16:creationId xmlns:a16="http://schemas.microsoft.com/office/drawing/2014/main" id="{DD7E8799-BDD5-E77C-D9A0-4A91D7059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669" y="2631383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ícone Design, validação Livre de Zwicon">
            <a:extLst>
              <a:ext uri="{FF2B5EF4-FFF2-40B4-BE49-F238E27FC236}">
                <a16:creationId xmlns:a16="http://schemas.microsoft.com/office/drawing/2014/main" id="{40A7591C-2059-72D8-6653-A3285F6D7F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511" y="2552691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Black report 3 icon - Free black report icons">
            <a:extLst>
              <a:ext uri="{FF2B5EF4-FFF2-40B4-BE49-F238E27FC236}">
                <a16:creationId xmlns:a16="http://schemas.microsoft.com/office/drawing/2014/main" id="{149A2B74-222F-44FE-5054-494B9EEC6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9300" y="2213481"/>
            <a:ext cx="540716" cy="54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tângulo 21">
            <a:extLst>
              <a:ext uri="{FF2B5EF4-FFF2-40B4-BE49-F238E27FC236}">
                <a16:creationId xmlns:a16="http://schemas.microsoft.com/office/drawing/2014/main" id="{2E5C46BF-4244-56B9-9FCB-01F092314172}"/>
              </a:ext>
            </a:extLst>
          </p:cNvPr>
          <p:cNvSpPr/>
          <p:nvPr/>
        </p:nvSpPr>
        <p:spPr>
          <a:xfrm>
            <a:off x="7546669" y="3279383"/>
            <a:ext cx="1152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tamento</a:t>
            </a:r>
          </a:p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s dados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4B50FF9F-89A9-7D83-67C3-8710DF23F4E1}"/>
              </a:ext>
            </a:extLst>
          </p:cNvPr>
          <p:cNvSpPr/>
          <p:nvPr/>
        </p:nvSpPr>
        <p:spPr>
          <a:xfrm>
            <a:off x="8477131" y="1197009"/>
            <a:ext cx="1152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ruturação dos dados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20D1674B-1066-81A7-92DD-66A9238FB4F7}"/>
              </a:ext>
            </a:extLst>
          </p:cNvPr>
          <p:cNvSpPr/>
          <p:nvPr/>
        </p:nvSpPr>
        <p:spPr>
          <a:xfrm>
            <a:off x="9391511" y="3162930"/>
            <a:ext cx="1152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ção das regras de validação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E5D2A6C5-288F-98F3-1BF9-65B14AA01613}"/>
              </a:ext>
            </a:extLst>
          </p:cNvPr>
          <p:cNvSpPr/>
          <p:nvPr/>
        </p:nvSpPr>
        <p:spPr>
          <a:xfrm>
            <a:off x="6740685" y="1164389"/>
            <a:ext cx="14412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tração dos dados através de técnicas de OCR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68EA6619-8726-FB45-AB80-E85A152B86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2354" y="1768293"/>
            <a:ext cx="652742" cy="756000"/>
          </a:xfrm>
          <a:prstGeom prst="rect">
            <a:avLst/>
          </a:prstGeom>
        </p:spPr>
      </p:pic>
      <p:cxnSp>
        <p:nvCxnSpPr>
          <p:cNvPr id="27" name="Conector de Seta Reta 26">
            <a:extLst>
              <a:ext uri="{FF2B5EF4-FFF2-40B4-BE49-F238E27FC236}">
                <a16:creationId xmlns:a16="http://schemas.microsoft.com/office/drawing/2014/main" id="{BD6A2426-9921-9345-21B1-7E364CD60AAF}"/>
              </a:ext>
            </a:extLst>
          </p:cNvPr>
          <p:cNvCxnSpPr>
            <a:cxnSpLocks/>
          </p:cNvCxnSpPr>
          <p:nvPr/>
        </p:nvCxnSpPr>
        <p:spPr>
          <a:xfrm>
            <a:off x="6679521" y="2474054"/>
            <a:ext cx="4452523" cy="0"/>
          </a:xfrm>
          <a:prstGeom prst="straightConnector1">
            <a:avLst/>
          </a:prstGeom>
          <a:ln>
            <a:solidFill>
              <a:srgbClr val="ED8B2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tângulo 27">
            <a:extLst>
              <a:ext uri="{FF2B5EF4-FFF2-40B4-BE49-F238E27FC236}">
                <a16:creationId xmlns:a16="http://schemas.microsoft.com/office/drawing/2014/main" id="{AD120E70-9CB6-36E1-D163-5AA0F7F6C22D}"/>
              </a:ext>
            </a:extLst>
          </p:cNvPr>
          <p:cNvSpPr/>
          <p:nvPr/>
        </p:nvSpPr>
        <p:spPr>
          <a:xfrm>
            <a:off x="10963658" y="2889419"/>
            <a:ext cx="115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100000"/>
            </a:pPr>
            <a:r>
              <a:rPr lang="pt-BR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ração de crítica referente ao caso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673053A1-36DF-BBA9-D0BC-5EA5E3931A1D}"/>
              </a:ext>
            </a:extLst>
          </p:cNvPr>
          <p:cNvSpPr/>
          <p:nvPr/>
        </p:nvSpPr>
        <p:spPr bwMode="gray">
          <a:xfrm>
            <a:off x="6618341" y="1123550"/>
            <a:ext cx="5410850" cy="2687833"/>
          </a:xfrm>
          <a:prstGeom prst="rect">
            <a:avLst/>
          </a:prstGeom>
          <a:noFill/>
          <a:ln w="19050" algn="ctr">
            <a:solidFill>
              <a:srgbClr val="ED8B2F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0DE5A58A-690C-F150-F2D9-CA243374F202}"/>
              </a:ext>
            </a:extLst>
          </p:cNvPr>
          <p:cNvSpPr txBox="1"/>
          <p:nvPr/>
        </p:nvSpPr>
        <p:spPr>
          <a:xfrm>
            <a:off x="8439621" y="903611"/>
            <a:ext cx="15116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buSzPct val="100000"/>
            </a:pPr>
            <a:r>
              <a:rPr lang="pt-BR" sz="1000" b="1">
                <a:solidFill>
                  <a:srgbClr val="ED8B2F"/>
                </a:solidFill>
                <a:cs typeface="Rubik Light" panose="00000400000000000000" pitchFamily="2" charset="-79"/>
              </a:rPr>
              <a:t>Processamento Robô</a:t>
            </a:r>
            <a:endParaRPr lang="en-US" sz="1000" b="1">
              <a:solidFill>
                <a:srgbClr val="ED8B2F"/>
              </a:solidFill>
              <a:cs typeface="Rubik Light" panose="00000400000000000000" pitchFamily="2" charset="-79"/>
            </a:endParaRPr>
          </a:p>
        </p:txBody>
      </p:sp>
      <p:pic>
        <p:nvPicPr>
          <p:cNvPr id="31" name="Imagem 30">
            <a:extLst>
              <a:ext uri="{FF2B5EF4-FFF2-40B4-BE49-F238E27FC236}">
                <a16:creationId xmlns:a16="http://schemas.microsoft.com/office/drawing/2014/main" id="{7F86E832-2010-E17B-68CF-5815BDB8A1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1452" y="4155219"/>
            <a:ext cx="1067561" cy="687796"/>
          </a:xfrm>
          <a:prstGeom prst="rect">
            <a:avLst/>
          </a:prstGeom>
        </p:spPr>
      </p:pic>
      <p:pic>
        <p:nvPicPr>
          <p:cNvPr id="32" name="Gráfico 31">
            <a:extLst>
              <a:ext uri="{FF2B5EF4-FFF2-40B4-BE49-F238E27FC236}">
                <a16:creationId xmlns:a16="http://schemas.microsoft.com/office/drawing/2014/main" id="{A4F52020-376B-5D90-F143-E680A0DCC54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8841" y="4122747"/>
            <a:ext cx="570411" cy="570411"/>
          </a:xfrm>
          <a:prstGeom prst="rect">
            <a:avLst/>
          </a:prstGeom>
        </p:spPr>
      </p:pic>
      <p:sp>
        <p:nvSpPr>
          <p:cNvPr id="33" name="Retângulo 32">
            <a:extLst>
              <a:ext uri="{FF2B5EF4-FFF2-40B4-BE49-F238E27FC236}">
                <a16:creationId xmlns:a16="http://schemas.microsoft.com/office/drawing/2014/main" id="{7DA357D3-0523-9758-53D0-CC2F04DCE206}"/>
              </a:ext>
            </a:extLst>
          </p:cNvPr>
          <p:cNvSpPr/>
          <p:nvPr/>
        </p:nvSpPr>
        <p:spPr>
          <a:xfrm>
            <a:off x="5710536" y="4712403"/>
            <a:ext cx="587020" cy="213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Paciente</a:t>
            </a:r>
            <a:endParaRPr lang="en-US" sz="800">
              <a:solidFill>
                <a:srgbClr val="FFC000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cxnSp>
        <p:nvCxnSpPr>
          <p:cNvPr id="34" name="Conector de Seta Reta 33">
            <a:extLst>
              <a:ext uri="{FF2B5EF4-FFF2-40B4-BE49-F238E27FC236}">
                <a16:creationId xmlns:a16="http://schemas.microsoft.com/office/drawing/2014/main" id="{11F186D7-DB56-39AF-45C7-95EE86F3D4F5}"/>
              </a:ext>
            </a:extLst>
          </p:cNvPr>
          <p:cNvCxnSpPr>
            <a:cxnSpLocks/>
          </p:cNvCxnSpPr>
          <p:nvPr/>
        </p:nvCxnSpPr>
        <p:spPr>
          <a:xfrm flipH="1" flipV="1">
            <a:off x="8607318" y="4496407"/>
            <a:ext cx="719807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A5473353-5635-89E0-72B9-7FB1D433626E}"/>
              </a:ext>
            </a:extLst>
          </p:cNvPr>
          <p:cNvCxnSpPr>
            <a:cxnSpLocks/>
          </p:cNvCxnSpPr>
          <p:nvPr/>
        </p:nvCxnSpPr>
        <p:spPr>
          <a:xfrm flipH="1">
            <a:off x="6322949" y="4519440"/>
            <a:ext cx="1113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tângulo 35">
            <a:extLst>
              <a:ext uri="{FF2B5EF4-FFF2-40B4-BE49-F238E27FC236}">
                <a16:creationId xmlns:a16="http://schemas.microsoft.com/office/drawing/2014/main" id="{08B6FBFF-C0E8-C548-5D30-BAB2AFCE80CC}"/>
              </a:ext>
            </a:extLst>
          </p:cNvPr>
          <p:cNvSpPr/>
          <p:nvPr/>
        </p:nvSpPr>
        <p:spPr>
          <a:xfrm>
            <a:off x="6245629" y="4517696"/>
            <a:ext cx="1332998" cy="52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libera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ame para consulta da paciente em portal web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6BA724F4-3C84-378B-D966-98F316738E13}"/>
              </a:ext>
            </a:extLst>
          </p:cNvPr>
          <p:cNvSpPr/>
          <p:nvPr/>
        </p:nvSpPr>
        <p:spPr>
          <a:xfrm>
            <a:off x="8542124" y="4532596"/>
            <a:ext cx="1039430" cy="37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A aprova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udo no sistema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3E2AC059-F684-1EA0-E9D2-CDC0DE9F3E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4740" y="5307440"/>
            <a:ext cx="1067561" cy="687796"/>
          </a:xfrm>
          <a:prstGeom prst="rect">
            <a:avLst/>
          </a:prstGeom>
        </p:spPr>
      </p:pic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911A9ED4-340C-4698-5080-616B18641747}"/>
              </a:ext>
            </a:extLst>
          </p:cNvPr>
          <p:cNvCxnSpPr>
            <a:cxnSpLocks/>
          </p:cNvCxnSpPr>
          <p:nvPr/>
        </p:nvCxnSpPr>
        <p:spPr>
          <a:xfrm flipH="1" flipV="1">
            <a:off x="8665453" y="5651338"/>
            <a:ext cx="719807" cy="1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8793F3A3-3505-44F3-96E1-872F3A54C262}"/>
              </a:ext>
            </a:extLst>
          </p:cNvPr>
          <p:cNvCxnSpPr>
            <a:cxnSpLocks/>
          </p:cNvCxnSpPr>
          <p:nvPr/>
        </p:nvCxnSpPr>
        <p:spPr>
          <a:xfrm flipH="1">
            <a:off x="6350517" y="5671661"/>
            <a:ext cx="1113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40">
            <a:extLst>
              <a:ext uri="{FF2B5EF4-FFF2-40B4-BE49-F238E27FC236}">
                <a16:creationId xmlns:a16="http://schemas.microsoft.com/office/drawing/2014/main" id="{13A8AA87-D74C-E065-B8AE-6E4C1BFC3AD1}"/>
              </a:ext>
            </a:extLst>
          </p:cNvPr>
          <p:cNvSpPr/>
          <p:nvPr/>
        </p:nvSpPr>
        <p:spPr>
          <a:xfrm>
            <a:off x="8541940" y="5712819"/>
            <a:ext cx="1039430" cy="379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A insere crítica no sistema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2" name="Gráfico 41">
            <a:extLst>
              <a:ext uri="{FF2B5EF4-FFF2-40B4-BE49-F238E27FC236}">
                <a16:creationId xmlns:a16="http://schemas.microsoft.com/office/drawing/2014/main" id="{EE93EBC0-B77D-08F8-A061-CAF00195A2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43760" y="5293252"/>
            <a:ext cx="584775" cy="584775"/>
          </a:xfrm>
          <a:prstGeom prst="rect">
            <a:avLst/>
          </a:prstGeom>
        </p:spPr>
      </p:pic>
      <p:sp>
        <p:nvSpPr>
          <p:cNvPr id="43" name="Retângulo 42">
            <a:extLst>
              <a:ext uri="{FF2B5EF4-FFF2-40B4-BE49-F238E27FC236}">
                <a16:creationId xmlns:a16="http://schemas.microsoft.com/office/drawing/2014/main" id="{E1D78474-87FF-79AD-8E22-3C504C125491}"/>
              </a:ext>
            </a:extLst>
          </p:cNvPr>
          <p:cNvSpPr/>
          <p:nvPr/>
        </p:nvSpPr>
        <p:spPr>
          <a:xfrm>
            <a:off x="6270124" y="5680099"/>
            <a:ext cx="1332998" cy="52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ireciona para uma fila de revisão manual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54B0E645-BF3B-DDFD-91EE-A86C7B3D059F}"/>
              </a:ext>
            </a:extLst>
          </p:cNvPr>
          <p:cNvSpPr/>
          <p:nvPr/>
        </p:nvSpPr>
        <p:spPr>
          <a:xfrm>
            <a:off x="5627206" y="5905904"/>
            <a:ext cx="821059" cy="3440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Médico/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Conferencista</a:t>
            </a:r>
            <a:endParaRPr lang="en-US" sz="800">
              <a:solidFill>
                <a:srgbClr val="FFC000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pic>
        <p:nvPicPr>
          <p:cNvPr id="45" name="Imagem 44">
            <a:extLst>
              <a:ext uri="{FF2B5EF4-FFF2-40B4-BE49-F238E27FC236}">
                <a16:creationId xmlns:a16="http://schemas.microsoft.com/office/drawing/2014/main" id="{B07D2CEE-00F6-0B3F-19B7-872C4B9674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2028" y="5327763"/>
            <a:ext cx="1067561" cy="687796"/>
          </a:xfrm>
          <a:prstGeom prst="rect">
            <a:avLst/>
          </a:prstGeom>
        </p:spPr>
      </p:pic>
      <p:cxnSp>
        <p:nvCxnSpPr>
          <p:cNvPr id="46" name="Conector de Seta Reta 45">
            <a:extLst>
              <a:ext uri="{FF2B5EF4-FFF2-40B4-BE49-F238E27FC236}">
                <a16:creationId xmlns:a16="http://schemas.microsoft.com/office/drawing/2014/main" id="{699B8C34-49D1-A542-44DE-F85760E76999}"/>
              </a:ext>
            </a:extLst>
          </p:cNvPr>
          <p:cNvCxnSpPr>
            <a:cxnSpLocks/>
          </p:cNvCxnSpPr>
          <p:nvPr/>
        </p:nvCxnSpPr>
        <p:spPr>
          <a:xfrm flipH="1">
            <a:off x="4584581" y="5651338"/>
            <a:ext cx="1113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tângulo 46">
            <a:extLst>
              <a:ext uri="{FF2B5EF4-FFF2-40B4-BE49-F238E27FC236}">
                <a16:creationId xmlns:a16="http://schemas.microsoft.com/office/drawing/2014/main" id="{24692422-B362-64EC-E2FB-A02B17D87366}"/>
              </a:ext>
            </a:extLst>
          </p:cNvPr>
          <p:cNvSpPr/>
          <p:nvPr/>
        </p:nvSpPr>
        <p:spPr>
          <a:xfrm>
            <a:off x="4465864" y="5655778"/>
            <a:ext cx="1332998" cy="673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lisa a crítica e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rrige o laudo. Libera manualmente no sistema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" name="Gráfico 47">
            <a:extLst>
              <a:ext uri="{FF2B5EF4-FFF2-40B4-BE49-F238E27FC236}">
                <a16:creationId xmlns:a16="http://schemas.microsoft.com/office/drawing/2014/main" id="{EBDF8C5D-DCC0-D0B7-4621-326E8022C2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13169" y="5307616"/>
            <a:ext cx="570411" cy="570411"/>
          </a:xfrm>
          <a:prstGeom prst="rect">
            <a:avLst/>
          </a:prstGeom>
        </p:spPr>
      </p:pic>
      <p:sp>
        <p:nvSpPr>
          <p:cNvPr id="49" name="Retângulo 48">
            <a:extLst>
              <a:ext uri="{FF2B5EF4-FFF2-40B4-BE49-F238E27FC236}">
                <a16:creationId xmlns:a16="http://schemas.microsoft.com/office/drawing/2014/main" id="{07BCB5E4-D2A1-C11E-CCEC-DA32AF0D0E91}"/>
              </a:ext>
            </a:extLst>
          </p:cNvPr>
          <p:cNvSpPr/>
          <p:nvPr/>
        </p:nvSpPr>
        <p:spPr>
          <a:xfrm>
            <a:off x="1705018" y="5859596"/>
            <a:ext cx="587020" cy="2135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Paciente</a:t>
            </a:r>
            <a:endParaRPr lang="en-US" sz="800">
              <a:solidFill>
                <a:srgbClr val="FFC000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cxnSp>
        <p:nvCxnSpPr>
          <p:cNvPr id="50" name="Conector de Seta Reta 49">
            <a:extLst>
              <a:ext uri="{FF2B5EF4-FFF2-40B4-BE49-F238E27FC236}">
                <a16:creationId xmlns:a16="http://schemas.microsoft.com/office/drawing/2014/main" id="{7DCA3914-8B0C-F95A-14EA-F95CE2EE83E5}"/>
              </a:ext>
            </a:extLst>
          </p:cNvPr>
          <p:cNvCxnSpPr>
            <a:cxnSpLocks/>
          </p:cNvCxnSpPr>
          <p:nvPr/>
        </p:nvCxnSpPr>
        <p:spPr>
          <a:xfrm flipH="1">
            <a:off x="2317431" y="5648345"/>
            <a:ext cx="111385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tângulo 50">
            <a:extLst>
              <a:ext uri="{FF2B5EF4-FFF2-40B4-BE49-F238E27FC236}">
                <a16:creationId xmlns:a16="http://schemas.microsoft.com/office/drawing/2014/main" id="{986DBF5E-180A-052A-D6FC-6FDD6412C3F5}"/>
              </a:ext>
            </a:extLst>
          </p:cNvPr>
          <p:cNvSpPr/>
          <p:nvPr/>
        </p:nvSpPr>
        <p:spPr>
          <a:xfrm>
            <a:off x="2207857" y="5680099"/>
            <a:ext cx="1332998" cy="526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libera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9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ame para consulta da paciente em portal web</a:t>
            </a:r>
            <a:endParaRPr lang="en-US" sz="9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E0271922-05A8-8139-D91F-CD29308A2B70}"/>
              </a:ext>
            </a:extLst>
          </p:cNvPr>
          <p:cNvSpPr/>
          <p:nvPr/>
        </p:nvSpPr>
        <p:spPr bwMode="gray">
          <a:xfrm>
            <a:off x="5409069" y="4004958"/>
            <a:ext cx="5112589" cy="1059417"/>
          </a:xfrm>
          <a:prstGeom prst="rect">
            <a:avLst/>
          </a:prstGeom>
          <a:noFill/>
          <a:ln w="19050" algn="ctr">
            <a:solidFill>
              <a:schemeClr val="tx1">
                <a:lumMod val="85000"/>
                <a:lumOff val="1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A85BC47E-4E72-07D4-C5A0-949DE2A7B7EA}"/>
              </a:ext>
            </a:extLst>
          </p:cNvPr>
          <p:cNvSpPr/>
          <p:nvPr/>
        </p:nvSpPr>
        <p:spPr bwMode="gray">
          <a:xfrm>
            <a:off x="1516025" y="5174649"/>
            <a:ext cx="9005633" cy="1126528"/>
          </a:xfrm>
          <a:prstGeom prst="rect">
            <a:avLst/>
          </a:prstGeom>
          <a:noFill/>
          <a:ln w="19050" algn="ctr">
            <a:solidFill>
              <a:schemeClr val="tx1">
                <a:lumMod val="75000"/>
                <a:lumOff val="2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pt-BR" sz="1600" b="1">
              <a:solidFill>
                <a:schemeClr val="bg1"/>
              </a:solidFill>
            </a:endParaRPr>
          </a:p>
        </p:txBody>
      </p:sp>
      <p:sp>
        <p:nvSpPr>
          <p:cNvPr id="54" name="Seta: Dobrada para Cima 53">
            <a:extLst>
              <a:ext uri="{FF2B5EF4-FFF2-40B4-BE49-F238E27FC236}">
                <a16:creationId xmlns:a16="http://schemas.microsoft.com/office/drawing/2014/main" id="{D16F1526-70DB-13B3-4E09-6C30C6DA7676}"/>
              </a:ext>
            </a:extLst>
          </p:cNvPr>
          <p:cNvSpPr/>
          <p:nvPr/>
        </p:nvSpPr>
        <p:spPr>
          <a:xfrm rot="16200000" flipH="1">
            <a:off x="10227776" y="4104098"/>
            <a:ext cx="2094132" cy="1508705"/>
          </a:xfrm>
          <a:prstGeom prst="bentUpArrow">
            <a:avLst>
              <a:gd name="adj1" fmla="val 9876"/>
              <a:gd name="adj2" fmla="val 13232"/>
              <a:gd name="adj3" fmla="val 1528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Seta: Dobrada para Cima 54">
            <a:extLst>
              <a:ext uri="{FF2B5EF4-FFF2-40B4-BE49-F238E27FC236}">
                <a16:creationId xmlns:a16="http://schemas.microsoft.com/office/drawing/2014/main" id="{995D1230-BEC4-F225-4EF5-1B04A36609DE}"/>
              </a:ext>
            </a:extLst>
          </p:cNvPr>
          <p:cNvSpPr/>
          <p:nvPr/>
        </p:nvSpPr>
        <p:spPr>
          <a:xfrm rot="16200000" flipH="1">
            <a:off x="10514296" y="3837644"/>
            <a:ext cx="974521" cy="930491"/>
          </a:xfrm>
          <a:prstGeom prst="bentUpArrow">
            <a:avLst>
              <a:gd name="adj1" fmla="val 15594"/>
              <a:gd name="adj2" fmla="val 21237"/>
              <a:gd name="adj3" fmla="val 25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99441EB0-4ABB-76C6-128E-714BD58FD62E}"/>
              </a:ext>
            </a:extLst>
          </p:cNvPr>
          <p:cNvSpPr/>
          <p:nvPr/>
        </p:nvSpPr>
        <p:spPr>
          <a:xfrm>
            <a:off x="10749114" y="4693158"/>
            <a:ext cx="853318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 b="1">
                <a:solidFill>
                  <a:srgbClr val="FFC000"/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SUCESSO</a:t>
            </a:r>
            <a:endParaRPr lang="en-US" sz="800" b="1">
              <a:solidFill>
                <a:srgbClr val="FFC000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id="{C44F0982-2391-D59A-DEE7-62532DBC49F6}"/>
              </a:ext>
            </a:extLst>
          </p:cNvPr>
          <p:cNvSpPr/>
          <p:nvPr/>
        </p:nvSpPr>
        <p:spPr>
          <a:xfrm>
            <a:off x="10758649" y="5281168"/>
            <a:ext cx="1039430" cy="3440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 b="1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DEMANDA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pt-BR" sz="800" b="1">
                <a:solidFill>
                  <a:schemeClr val="tx1">
                    <a:lumMod val="85000"/>
                    <a:lumOff val="15000"/>
                  </a:schemeClr>
                </a:solidFill>
                <a:latin typeface="Rubik Light" panose="00000400000000000000" pitchFamily="2" charset="-79"/>
                <a:cs typeface="Rubik Light" panose="00000400000000000000" pitchFamily="2" charset="-79"/>
              </a:rPr>
              <a:t>REVISÃO</a:t>
            </a:r>
            <a:endParaRPr lang="en-US" sz="800" b="1">
              <a:solidFill>
                <a:schemeClr val="tx1">
                  <a:lumMod val="85000"/>
                  <a:lumOff val="15000"/>
                </a:schemeClr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4E39D88D-910B-1D7A-FADF-632158D1B209}"/>
              </a:ext>
            </a:extLst>
          </p:cNvPr>
          <p:cNvSpPr txBox="1"/>
          <p:nvPr/>
        </p:nvSpPr>
        <p:spPr>
          <a:xfrm>
            <a:off x="5386417" y="3835163"/>
            <a:ext cx="118782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SzPct val="100000"/>
            </a:pPr>
            <a:r>
              <a:rPr lang="pt-BR" sz="1000" b="1">
                <a:solidFill>
                  <a:srgbClr val="FFC000"/>
                </a:solidFill>
                <a:cs typeface="Rubik Light" panose="00000400000000000000" pitchFamily="2" charset="-79"/>
              </a:rPr>
              <a:t>IA aprova Laudo</a:t>
            </a:r>
            <a:endParaRPr lang="en-US" sz="1000" b="1">
              <a:solidFill>
                <a:srgbClr val="FFC000"/>
              </a:solidFill>
              <a:cs typeface="Rubik Light" panose="00000400000000000000" pitchFamily="2" charset="-79"/>
            </a:endParaRP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CE612C82-AED2-04AA-58EC-C49E4C6C3B12}"/>
              </a:ext>
            </a:extLst>
          </p:cNvPr>
          <p:cNvSpPr txBox="1"/>
          <p:nvPr/>
        </p:nvSpPr>
        <p:spPr>
          <a:xfrm>
            <a:off x="1539269" y="4992586"/>
            <a:ext cx="113653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SzPct val="100000"/>
            </a:pPr>
            <a:r>
              <a:rPr lang="pt-BR" sz="1000" b="1">
                <a:solidFill>
                  <a:schemeClr val="tx1">
                    <a:lumMod val="75000"/>
                    <a:lumOff val="25000"/>
                  </a:schemeClr>
                </a:solidFill>
                <a:cs typeface="Rubik Light" panose="00000400000000000000" pitchFamily="2" charset="-79"/>
              </a:rPr>
              <a:t>IA crítica Laudo</a:t>
            </a:r>
            <a:endParaRPr lang="en-US" sz="1000" b="1">
              <a:solidFill>
                <a:schemeClr val="tx1">
                  <a:lumMod val="75000"/>
                  <a:lumOff val="25000"/>
                </a:schemeClr>
              </a:solidFill>
              <a:cs typeface="Rubik Light" panose="00000400000000000000" pitchFamily="2" charset="-79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C9A77843-C3E5-3C5B-A331-6333F66133E4}"/>
              </a:ext>
            </a:extLst>
          </p:cNvPr>
          <p:cNvSpPr txBox="1"/>
          <p:nvPr/>
        </p:nvSpPr>
        <p:spPr>
          <a:xfrm>
            <a:off x="78480" y="3534872"/>
            <a:ext cx="5128829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2 milhões </a:t>
            </a:r>
            <a:r>
              <a:rPr lang="pt-BR" sz="14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exames avaliados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ção do tempo de validação dos laudos em </a:t>
            </a: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, permitindo liberações no mesmo dia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lhora na </a:t>
            </a: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lidade, tempo de liberação e padronização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pt-BR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ção nas reclamações e processos judiciais</a:t>
            </a:r>
            <a:endParaRPr lang="en-US"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1" name="Picture 16" descr="Ia - ícones de educação grátis">
            <a:extLst>
              <a:ext uri="{FF2B5EF4-FFF2-40B4-BE49-F238E27FC236}">
                <a16:creationId xmlns:a16="http://schemas.microsoft.com/office/drawing/2014/main" id="{0917C035-4B0B-6E81-C965-A15452FDB7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1550" y="4131207"/>
            <a:ext cx="783948" cy="78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" descr="Ia - ícones de educação grátis">
            <a:extLst>
              <a:ext uri="{FF2B5EF4-FFF2-40B4-BE49-F238E27FC236}">
                <a16:creationId xmlns:a16="http://schemas.microsoft.com/office/drawing/2014/main" id="{F2E5E443-D50A-64E3-F14A-7C3EF641B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892" y="5342476"/>
            <a:ext cx="783948" cy="78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" descr="Ia - ícones de educação grátis">
            <a:extLst>
              <a:ext uri="{FF2B5EF4-FFF2-40B4-BE49-F238E27FC236}">
                <a16:creationId xmlns:a16="http://schemas.microsoft.com/office/drawing/2014/main" id="{10F58CB2-B62C-D58E-6BDE-C03CF3DD1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513" y="2106533"/>
            <a:ext cx="783948" cy="78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8" descr="Ciência de dados - ícones de seo e web grátis">
            <a:extLst>
              <a:ext uri="{FF2B5EF4-FFF2-40B4-BE49-F238E27FC236}">
                <a16:creationId xmlns:a16="http://schemas.microsoft.com/office/drawing/2014/main" id="{CC24B45B-2B34-7A3F-FF6A-D7EF0ECC4B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5934" y="1674596"/>
            <a:ext cx="652742" cy="652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743776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GT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GT Template 16-9" id="{4E1F07E1-1221-44C6-8C01-CC2A6DE91238}" vid="{1DC0BF28-6EAF-47F8-89FA-C9C46E32AA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ste xmlns="20918e29-824e-44a9-8bd4-54e3dbdcfd0f">
      <Url xsi:nil="true"/>
      <Description xsi:nil="true"/>
    </Teste>
    <EnviadoLinkedln xmlns="20918e29-824e-44a9-8bd4-54e3dbdcfd0f" xsi:nil="true"/>
    <link xmlns="20918e29-824e-44a9-8bd4-54e3dbdcfd0f" xsi:nil="true"/>
    <lcf76f155ced4ddcb4097134ff3c332f xmlns="20918e29-824e-44a9-8bd4-54e3dbdcfd0f">
      <Terms xmlns="http://schemas.microsoft.com/office/infopath/2007/PartnerControls"/>
    </lcf76f155ced4ddcb4097134ff3c332f>
    <TaxCatchAll xmlns="bf3c3c9d-6456-4e60-ac17-2874e333d2ff" xsi:nil="true"/>
    <SharedWithUsers xmlns="bf3c3c9d-6456-4e60-ac17-2874e333d2ff">
      <UserInfo>
        <DisplayName>José S. Moscati</DisplayName>
        <AccountId>227</AccountId>
        <AccountType/>
      </UserInfo>
      <UserInfo>
        <DisplayName>Carlos Deghi</DisplayName>
        <AccountId>17</AccountId>
        <AccountType/>
      </UserInfo>
      <UserInfo>
        <DisplayName>Douglas Garcia</DisplayName>
        <AccountId>21</AccountId>
        <AccountType/>
      </UserInfo>
      <UserInfo>
        <DisplayName>Rodrigo Pena</DisplayName>
        <AccountId>104</AccountId>
        <AccountType/>
      </UserInfo>
      <UserInfo>
        <DisplayName>Kenzo Oyama</DisplayName>
        <AccountId>18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B2B1EFF95224A4D9EBE06E19879B795" ma:contentTypeVersion="21" ma:contentTypeDescription="Crie um novo documento." ma:contentTypeScope="" ma:versionID="1c2691cd1da4c5efbb30b03439e563de">
  <xsd:schema xmlns:xsd="http://www.w3.org/2001/XMLSchema" xmlns:xs="http://www.w3.org/2001/XMLSchema" xmlns:p="http://schemas.microsoft.com/office/2006/metadata/properties" xmlns:ns2="bf3c3c9d-6456-4e60-ac17-2874e333d2ff" xmlns:ns3="20918e29-824e-44a9-8bd4-54e3dbdcfd0f" targetNamespace="http://schemas.microsoft.com/office/2006/metadata/properties" ma:root="true" ma:fieldsID="d934942d02a744fd79f134911943702a" ns2:_="" ns3:_="">
    <xsd:import namespace="bf3c3c9d-6456-4e60-ac17-2874e333d2ff"/>
    <xsd:import namespace="20918e29-824e-44a9-8bd4-54e3dbdcfd0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Teste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EnviadoLinkedln" minOccurs="0"/>
                <xsd:element ref="ns3:link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c3c9d-6456-4e60-ac17-2874e333d2f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ec8e569a-9e92-4037-a802-1b401e8cc013}" ma:internalName="TaxCatchAll" ma:showField="CatchAllData" ma:web="bf3c3c9d-6456-4e60-ac17-2874e333d2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918e29-824e-44a9-8bd4-54e3dbdcf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Teste" ma:index="15" nillable="true" ma:displayName="Teste" ma:description="teste" ma:format="Image" ma:internalName="Test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EnviadoLinkedln" ma:index="19" nillable="true" ma:displayName="Enviado Linkedln " ma:format="Dropdown" ma:internalName="EnviadoLinkedln">
      <xsd:simpleType>
        <xsd:restriction base="dms:Text">
          <xsd:maxLength value="255"/>
        </xsd:restriction>
      </xsd:simpleType>
    </xsd:element>
    <xsd:element name="link" ma:index="20" nillable="true" ma:displayName="link" ma:format="Dropdown" ma:internalName="link">
      <xsd:simpleType>
        <xsd:restriction base="dms:Note">
          <xsd:maxLength value="255"/>
        </xsd:restriction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Marcações de imagem" ma:readOnly="false" ma:fieldId="{5cf76f15-5ced-4ddc-b409-7134ff3c332f}" ma:taxonomyMulti="true" ma:sspId="2c169e66-223f-47e7-ac33-70a948e08d8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FB73ECE-898D-4137-8E16-79D2FE597DA2}">
  <ds:schemaRefs>
    <ds:schemaRef ds:uri="20918e29-824e-44a9-8bd4-54e3dbdcfd0f"/>
    <ds:schemaRef ds:uri="bf3c3c9d-6456-4e60-ac17-2874e333d2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FD80B46-BE03-4279-A8F1-19F1950382F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39A9464-7161-47CD-971A-4528098AE21C}">
  <ds:schemaRefs>
    <ds:schemaRef ds:uri="20918e29-824e-44a9-8bd4-54e3dbdcfd0f"/>
    <ds:schemaRef ds:uri="bf3c3c9d-6456-4e60-ac17-2874e333d2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GT_16_9_Onscreen_v2</Template>
  <TotalTime>7737</TotalTime>
  <Words>1134</Words>
  <Application>Microsoft Office PowerPoint</Application>
  <PresentationFormat>Widescreen</PresentationFormat>
  <Paragraphs>197</Paragraphs>
  <Slides>12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3" baseType="lpstr">
      <vt:lpstr>Arial</vt:lpstr>
      <vt:lpstr>Barlow</vt:lpstr>
      <vt:lpstr>Calibri</vt:lpstr>
      <vt:lpstr>Century Gothic</vt:lpstr>
      <vt:lpstr>Impact</vt:lpstr>
      <vt:lpstr>Rubik Light</vt:lpstr>
      <vt:lpstr>Verdana</vt:lpstr>
      <vt:lpstr>Wingdings</vt:lpstr>
      <vt:lpstr>Wingdings 2</vt:lpstr>
      <vt:lpstr>DGT_Onscree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Por quê Hiperautomação?</vt:lpstr>
      <vt:lpstr>Combinações de Tecnologias</vt:lpstr>
      <vt:lpstr>Como aplicar a hiperautomação?</vt:lpstr>
      <vt:lpstr>Case BPM + IA - Armazenamento Eletrônico dos Exames Realizados</vt:lpstr>
      <vt:lpstr>Case RPA + IA - IA na validação dos Laudos de Ultrassonografia</vt:lpstr>
      <vt:lpstr>Venha Conhecer a DGT</vt:lpstr>
      <vt:lpstr>Perguntas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GT Transformação Digital</dc:title>
  <dc:creator>Carlos Deghi</dc:creator>
  <cp:keywords>DGT Consultoria + Tecnologia + Transofrmação Digital</cp:keywords>
  <cp:lastModifiedBy>Otavio Augusto Sabia Gava</cp:lastModifiedBy>
  <cp:revision>2</cp:revision>
  <cp:lastPrinted>2018-09-19T14:12:15Z</cp:lastPrinted>
  <dcterms:created xsi:type="dcterms:W3CDTF">2018-04-12T04:48:21Z</dcterms:created>
  <dcterms:modified xsi:type="dcterms:W3CDTF">2024-04-16T17:4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2B1EFF95224A4D9EBE06E19879B795</vt:lpwstr>
  </property>
  <property fmtid="{D5CDD505-2E9C-101B-9397-08002B2CF9AE}" pid="3" name="MediaServiceImageTags">
    <vt:lpwstr/>
  </property>
</Properties>
</file>